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11.xml" ContentType="application/vnd.openxmlformats-officedocument.theme+xml"/>
  <Override PartName="/ppt/tags/tag11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12.xml" ContentType="application/vnd.openxmlformats-officedocument.theme+xml"/>
  <Override PartName="/ppt/tags/tag1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13.xml" ContentType="application/vnd.openxmlformats-officedocument.theme+xml"/>
  <Override PartName="/ppt/tags/tag13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14.xml" ContentType="application/vnd.openxmlformats-officedocument.theme+xml"/>
  <Override PartName="/ppt/tags/tag1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15.xml" ContentType="application/vnd.openxmlformats-officedocument.theme+xml"/>
  <Override PartName="/ppt/slideLayouts/slideLayout26.xml" ContentType="application/vnd.openxmlformats-officedocument.presentationml.slideLayout+xml"/>
  <Override PartName="/ppt/theme/theme16.xml" ContentType="application/vnd.openxmlformats-officedocument.theme+xml"/>
  <Override PartName="/ppt/tags/tag1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18.xml" ContentType="application/vnd.openxmlformats-officedocument.theme+xml"/>
  <Override PartName="/ppt/tags/tag17.xml" ContentType="application/vnd.openxmlformats-officedocument.presentationml.tags+xml"/>
  <Override PartName="/ppt/slideLayouts/slideLayout31.xml" ContentType="application/vnd.openxmlformats-officedocument.presentationml.slideLayout+xml"/>
  <Override PartName="/ppt/theme/theme19.xml" ContentType="application/vnd.openxmlformats-officedocument.theme+xml"/>
  <Override PartName="/ppt/tags/tag18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0.xml" ContentType="application/vnd.openxmlformats-officedocument.theme+xml"/>
  <Override PartName="/ppt/tags/tag1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1.xml" ContentType="application/vnd.openxmlformats-officedocument.theme+xml"/>
  <Override PartName="/ppt/tags/tag2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2.xml" ContentType="application/vnd.openxmlformats-officedocument.theme+xml"/>
  <Override PartName="/ppt/tags/tag2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3.xml" ContentType="application/vnd.openxmlformats-officedocument.theme+xml"/>
  <Override PartName="/ppt/tags/tag22.xml" ContentType="application/vnd.openxmlformats-officedocument.presentationml.tags+xml"/>
  <Override PartName="/ppt/theme/theme24.xml" ContentType="application/vnd.openxmlformats-officedocument.theme+xml"/>
  <Override PartName="/ppt/tags/tag23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5.xml" ContentType="application/vnd.openxmlformats-officedocument.theme+xml"/>
  <Override PartName="/ppt/tags/tag2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6.xml" ContentType="application/vnd.openxmlformats-officedocument.theme+xml"/>
  <Override PartName="/ppt/tags/tag2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7.xml" ContentType="application/vnd.openxmlformats-officedocument.theme+xml"/>
  <Override PartName="/ppt/tags/tag2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8.xml" ContentType="application/vnd.openxmlformats-officedocument.theme+xml"/>
  <Override PartName="/ppt/tags/tag27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9.xml" ContentType="application/vnd.openxmlformats-officedocument.theme+xml"/>
  <Override PartName="/ppt/tags/tag2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0.xml" ContentType="application/vnd.openxmlformats-officedocument.theme+xml"/>
  <Override PartName="/ppt/tags/tag2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1.xml" ContentType="application/vnd.openxmlformats-officedocument.theme+xml"/>
  <Override PartName="/ppt/tags/tag30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2.xml" ContentType="application/vnd.openxmlformats-officedocument.theme+xml"/>
  <Override PartName="/ppt/tags/tag31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3.xml" ContentType="application/vnd.openxmlformats-officedocument.theme+xml"/>
  <Override PartName="/ppt/tags/tag32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5.xml" ContentType="application/vnd.openxmlformats-officedocument.theme+xml"/>
  <Override PartName="/ppt/tags/tag42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6.xml" ContentType="application/vnd.openxmlformats-officedocument.theme+xml"/>
  <Override PartName="/ppt/tags/tag43.xml" ContentType="application/vnd.openxmlformats-officedocument.presentationml.tags+xml"/>
  <Override PartName="/ppt/theme/theme37.xml" ContentType="application/vnd.openxmlformats-officedocument.theme+xml"/>
  <Override PartName="/ppt/tags/tag44.xml" ContentType="application/vnd.openxmlformats-officedocument.presentationml.tags+xml"/>
  <Override PartName="/ppt/slideLayouts/slideLayout89.xml" ContentType="application/vnd.openxmlformats-officedocument.presentationml.slideLayout+xml"/>
  <Override PartName="/ppt/theme/theme38.xml" ContentType="application/vnd.openxmlformats-officedocument.theme+xml"/>
  <Override PartName="/ppt/tags/tag45.xml" ContentType="application/vnd.openxmlformats-officedocument.presentationml.tags+xml"/>
  <Override PartName="/ppt/slideLayouts/slideLayout90.xml" ContentType="application/vnd.openxmlformats-officedocument.presentationml.slideLayout+xml"/>
  <Override PartName="/ppt/theme/theme39.xml" ContentType="application/vnd.openxmlformats-officedocument.theme+xml"/>
  <Override PartName="/ppt/tags/tag46.xml" ContentType="application/vnd.openxmlformats-officedocument.presentationml.tags+xml"/>
  <Override PartName="/ppt/slideLayouts/slideLayout91.xml" ContentType="application/vnd.openxmlformats-officedocument.presentationml.slideLayout+xml"/>
  <Override PartName="/ppt/theme/theme40.xml" ContentType="application/vnd.openxmlformats-officedocument.theme+xml"/>
  <Override PartName="/ppt/tags/tag47.xml" ContentType="application/vnd.openxmlformats-officedocument.presentationml.tags+xml"/>
  <Override PartName="/ppt/theme/theme41.xml" ContentType="application/vnd.openxmlformats-officedocument.theme+xml"/>
  <Override PartName="/ppt/theme/theme4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87" r:id="rId4"/>
    <p:sldMasterId id="2147485494" r:id="rId5"/>
    <p:sldMasterId id="2147485511" r:id="rId6"/>
    <p:sldMasterId id="2147485516" r:id="rId7"/>
    <p:sldMasterId id="2147485521" r:id="rId8"/>
    <p:sldMasterId id="2147485537" r:id="rId9"/>
    <p:sldMasterId id="2147485539" r:id="rId10"/>
    <p:sldMasterId id="2147485542" r:id="rId11"/>
    <p:sldMasterId id="2147485546" r:id="rId12"/>
    <p:sldMasterId id="2147485549" r:id="rId13"/>
    <p:sldMasterId id="2147485552" r:id="rId14"/>
    <p:sldMasterId id="2147485556" r:id="rId15"/>
    <p:sldMasterId id="2147485561" r:id="rId16"/>
    <p:sldMasterId id="2147485565" r:id="rId17"/>
    <p:sldMasterId id="2147485569" r:id="rId18"/>
    <p:sldMasterId id="2147485572" r:id="rId19"/>
    <p:sldMasterId id="2147485577" r:id="rId20"/>
    <p:sldMasterId id="2147485581" r:id="rId21"/>
    <p:sldMasterId id="2147485585" r:id="rId22"/>
    <p:sldMasterId id="2147485595" r:id="rId23"/>
    <p:sldMasterId id="2147485613" r:id="rId24"/>
    <p:sldMasterId id="2147485624" r:id="rId25"/>
    <p:sldMasterId id="2147485628" r:id="rId26"/>
    <p:sldMasterId id="2147485655" r:id="rId27"/>
    <p:sldMasterId id="2147485668" r:id="rId28"/>
    <p:sldMasterId id="2147485694" r:id="rId29"/>
    <p:sldMasterId id="2147485710" r:id="rId30"/>
    <p:sldMasterId id="2147485772" r:id="rId31"/>
    <p:sldMasterId id="2147485856" r:id="rId32"/>
    <p:sldMasterId id="2147485891" r:id="rId33"/>
    <p:sldMasterId id="2147485915" r:id="rId34"/>
    <p:sldMasterId id="2147485929" r:id="rId35"/>
    <p:sldMasterId id="2147485943" r:id="rId36"/>
    <p:sldMasterId id="2147486092" r:id="rId37"/>
    <p:sldMasterId id="2147486101" r:id="rId38"/>
    <p:sldMasterId id="2147486104" r:id="rId39"/>
    <p:sldMasterId id="2147486144" r:id="rId40"/>
    <p:sldMasterId id="2147486241" r:id="rId41"/>
    <p:sldMasterId id="2147486243" r:id="rId42"/>
    <p:sldMasterId id="2147486245" r:id="rId43"/>
  </p:sldMasterIdLst>
  <p:notesMasterIdLst>
    <p:notesMasterId r:id="rId52"/>
  </p:notesMasterIdLst>
  <p:handoutMasterIdLst>
    <p:handoutMasterId r:id="rId53"/>
  </p:handoutMasterIdLst>
  <p:sldIdLst>
    <p:sldId id="2055" r:id="rId44"/>
    <p:sldId id="2056" r:id="rId45"/>
    <p:sldId id="2061" r:id="rId46"/>
    <p:sldId id="2057" r:id="rId47"/>
    <p:sldId id="2058" r:id="rId48"/>
    <p:sldId id="2059" r:id="rId49"/>
    <p:sldId id="2060" r:id="rId50"/>
    <p:sldId id="2062" r:id="rId51"/>
  </p:sldIdLst>
  <p:sldSz cx="9144000" cy="5143500" type="screen16x9"/>
  <p:notesSz cx="6858000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C7E0F52-461B-4ADE-BA28-20A918E23251}">
          <p14:sldIdLst>
            <p14:sldId id="2055"/>
            <p14:sldId id="2056"/>
            <p14:sldId id="2061"/>
            <p14:sldId id="2057"/>
            <p14:sldId id="2058"/>
            <p14:sldId id="2059"/>
            <p14:sldId id="2060"/>
            <p14:sldId id="20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9" userDrawn="1">
          <p15:clr>
            <a:srgbClr val="A4A3A4"/>
          </p15:clr>
        </p15:guide>
        <p15:guide id="2" orient="horz" pos="2391">
          <p15:clr>
            <a:srgbClr val="A4A3A4"/>
          </p15:clr>
        </p15:guide>
        <p15:guide id="3" pos="3061" userDrawn="1">
          <p15:clr>
            <a:srgbClr val="A4A3A4"/>
          </p15:clr>
        </p15:guide>
        <p15:guide id="5" pos="68">
          <p15:clr>
            <a:srgbClr val="A4A3A4"/>
          </p15:clr>
        </p15:guide>
        <p15:guide id="6" pos="224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2" userDrawn="1">
          <p15:clr>
            <a:srgbClr val="A4A3A4"/>
          </p15:clr>
        </p15:guide>
        <p15:guide id="2" pos="2158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6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Козлов Михаил Андреевич" initials="КМА" lastIdx="0" clrIdx="0"/>
  <p:cmAuthor id="1" name="Масин Евгений Григорьевич" initials="МЕГ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D18E"/>
    <a:srgbClr val="8EC26A"/>
    <a:srgbClr val="7F6B53"/>
    <a:srgbClr val="AAA295"/>
    <a:srgbClr val="A39C89"/>
    <a:srgbClr val="847151"/>
    <a:srgbClr val="8C7A63"/>
    <a:srgbClr val="5E4328"/>
    <a:srgbClr val="A8A093"/>
    <a:srgbClr val="A69E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55" autoAdjust="0"/>
    <p:restoredTop sz="96357" autoAdjust="0"/>
  </p:normalViewPr>
  <p:slideViewPr>
    <p:cSldViewPr showGuides="1">
      <p:cViewPr varScale="1">
        <p:scale>
          <a:sx n="143" d="100"/>
          <a:sy n="143" d="100"/>
        </p:scale>
        <p:origin x="174" y="114"/>
      </p:cViewPr>
      <p:guideLst>
        <p:guide orient="horz" pos="2119"/>
        <p:guide orient="horz" pos="2391"/>
        <p:guide pos="3061"/>
        <p:guide pos="68"/>
        <p:guide pos="224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3942" y="-90"/>
      </p:cViewPr>
      <p:guideLst>
        <p:guide orient="horz" pos="3122"/>
        <p:guide pos="2158"/>
        <p:guide orient="horz" pos="3127"/>
        <p:guide pos="216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Master" Target="slideMasters/slideMaster36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Master" Target="slideMasters/slideMaster39.xml"/><Relationship Id="rId47" Type="http://schemas.openxmlformats.org/officeDocument/2006/relationships/slide" Target="slides/slide4.xml"/><Relationship Id="rId50" Type="http://schemas.openxmlformats.org/officeDocument/2006/relationships/slide" Target="slides/slide7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Master" Target="slideMasters/slideMaster26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" Target="slides/slide2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9" Type="http://schemas.openxmlformats.org/officeDocument/2006/relationships/slideMaster" Target="slideMasters/slideMaster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" Target="slides/slide5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" Target="slides/slide3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" Target="slides/slide6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44" Type="http://schemas.openxmlformats.org/officeDocument/2006/relationships/slide" Target="slides/slide1.xml"/><Relationship Id="rId52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0" y="5"/>
            <a:ext cx="2971261" cy="495692"/>
          </a:xfrm>
          <a:prstGeom prst="rect">
            <a:avLst/>
          </a:prstGeom>
        </p:spPr>
        <p:txBody>
          <a:bodyPr vert="horz" lIns="92229" tIns="46115" rIns="92229" bIns="461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5132" y="5"/>
            <a:ext cx="2971261" cy="495692"/>
          </a:xfrm>
          <a:prstGeom prst="rect">
            <a:avLst/>
          </a:prstGeom>
        </p:spPr>
        <p:txBody>
          <a:bodyPr vert="horz" lIns="92229" tIns="46115" rIns="92229" bIns="46115" rtlCol="0"/>
          <a:lstStyle>
            <a:lvl1pPr algn="r">
              <a:defRPr sz="1200"/>
            </a:lvl1pPr>
          </a:lstStyle>
          <a:p>
            <a:fld id="{908B84F9-F757-4862-BC0F-0848C5D9C724}" type="datetimeFigureOut">
              <a:rPr lang="ru-RU" smtClean="0"/>
              <a:pPr/>
              <a:t>17.02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0" y="9429354"/>
            <a:ext cx="2971261" cy="495692"/>
          </a:xfrm>
          <a:prstGeom prst="rect">
            <a:avLst/>
          </a:prstGeom>
        </p:spPr>
        <p:txBody>
          <a:bodyPr vert="horz" lIns="92229" tIns="46115" rIns="92229" bIns="461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5132" y="9429354"/>
            <a:ext cx="2971261" cy="495692"/>
          </a:xfrm>
          <a:prstGeom prst="rect">
            <a:avLst/>
          </a:prstGeom>
        </p:spPr>
        <p:txBody>
          <a:bodyPr vert="horz" lIns="92229" tIns="46115" rIns="92229" bIns="46115" rtlCol="0" anchor="b"/>
          <a:lstStyle>
            <a:lvl1pPr algn="r">
              <a:defRPr sz="1200"/>
            </a:lvl1pPr>
          </a:lstStyle>
          <a:p>
            <a:fld id="{6FBDBE96-7C64-4A2F-A665-7F6E40D5044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69704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3" y="12"/>
            <a:ext cx="2971797" cy="496333"/>
          </a:xfrm>
          <a:prstGeom prst="rect">
            <a:avLst/>
          </a:prstGeom>
        </p:spPr>
        <p:txBody>
          <a:bodyPr vert="horz" lIns="95499" tIns="47747" rIns="95499" bIns="4774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28" y="12"/>
            <a:ext cx="2971797" cy="496333"/>
          </a:xfrm>
          <a:prstGeom prst="rect">
            <a:avLst/>
          </a:prstGeom>
        </p:spPr>
        <p:txBody>
          <a:bodyPr vert="horz" lIns="95499" tIns="47747" rIns="95499" bIns="47747" rtlCol="0"/>
          <a:lstStyle>
            <a:lvl1pPr algn="r">
              <a:defRPr sz="1200"/>
            </a:lvl1pPr>
          </a:lstStyle>
          <a:p>
            <a:fld id="{64079262-E61E-4D45-ABD1-EA893D1DD60A}" type="datetimeFigureOut">
              <a:rPr lang="ru-RU" smtClean="0"/>
              <a:pPr/>
              <a:t>17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2238" y="744538"/>
            <a:ext cx="6613525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99" tIns="47747" rIns="95499" bIns="47747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15160"/>
            <a:ext cx="5486400" cy="4466986"/>
          </a:xfrm>
          <a:prstGeom prst="rect">
            <a:avLst/>
          </a:prstGeom>
        </p:spPr>
        <p:txBody>
          <a:bodyPr vert="horz" lIns="95499" tIns="47747" rIns="95499" bIns="4774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3" y="9428593"/>
            <a:ext cx="2971797" cy="496333"/>
          </a:xfrm>
          <a:prstGeom prst="rect">
            <a:avLst/>
          </a:prstGeom>
        </p:spPr>
        <p:txBody>
          <a:bodyPr vert="horz" lIns="95499" tIns="47747" rIns="95499" bIns="47747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28" y="9428593"/>
            <a:ext cx="2971797" cy="496333"/>
          </a:xfrm>
          <a:prstGeom prst="rect">
            <a:avLst/>
          </a:prstGeom>
        </p:spPr>
        <p:txBody>
          <a:bodyPr vert="horz" lIns="95499" tIns="47747" rIns="95499" bIns="47747" rtlCol="0" anchor="b"/>
          <a:lstStyle>
            <a:lvl1pPr algn="r">
              <a:defRPr sz="1200"/>
            </a:lvl1pPr>
          </a:lstStyle>
          <a:p>
            <a:fld id="{37884904-3C08-4246-B9D3-73460251786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28657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4.xml"/><Relationship Id="rId4" Type="http://schemas.openxmlformats.org/officeDocument/2006/relationships/image" Target="../media/image11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3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3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4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4.xml"/><Relationship Id="rId1" Type="http://schemas.openxmlformats.org/officeDocument/2006/relationships/tags" Target="../tags/tag4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http://3120DA007754567E20B2F0FF2A9A2C0C.dms.sberbank.ru/3120DA007754567E20B2F0FF2A9A2C0C-71C76D7B62D13D68A726B5DBEA400B67-E9657BA7E0C36E1C2E0F5758975B58AF/1.png" TargetMode="External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99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 lang="ru-RU" smtClean="0"/>
              <a:pPr marL="172882" indent="-172882" algn="r">
                <a:spcBef>
                  <a:spcPct val="50000"/>
                </a:spcBef>
              </a:pPr>
              <a:t>‹#›</a:t>
            </a:fld>
            <a:r>
              <a:rPr lang="ru-RU"/>
              <a:t> </a:t>
            </a:r>
            <a:endParaRPr lang="ru-RU" dirty="0"/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</a:t>
            </a:r>
            <a:r>
              <a:rPr lang="ru-RU" sz="899" baseline="0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741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73846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321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99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>
                <a:solidFill>
                  <a:prstClr val="black"/>
                </a:solidFill>
              </a:rPr>
              <a:pPr marL="172882" indent="-172882" algn="r">
                <a:spcBef>
                  <a:spcPct val="50000"/>
                </a:spcBef>
              </a:pPr>
              <a:t>‹#›</a:t>
            </a:fld>
            <a:r>
              <a:rPr>
                <a:solidFill>
                  <a:prstClr val="black"/>
                </a:solidFill>
              </a:rPr>
              <a:t>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03664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99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>
                <a:solidFill>
                  <a:prstClr val="black"/>
                </a:solidFill>
              </a:rPr>
              <a:pPr marL="172882" indent="-172882" algn="r">
                <a:spcBef>
                  <a:spcPct val="50000"/>
                </a:spcBef>
              </a:pPr>
              <a:t>‹#›</a:t>
            </a:fld>
            <a:r>
              <a:rPr>
                <a:solidFill>
                  <a:prstClr val="black"/>
                </a:solidFill>
              </a:rPr>
              <a:t>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395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E69D28B1-D38C-4099-962B-61EF5AC5C1EA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746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араллелограмм 22"/>
          <p:cNvSpPr>
            <a:spLocks/>
          </p:cNvSpPr>
          <p:nvPr/>
        </p:nvSpPr>
        <p:spPr bwMode="auto">
          <a:xfrm>
            <a:off x="179544" y="-20537"/>
            <a:ext cx="288000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/>
        </p:nvSpPr>
        <p:spPr bwMode="auto">
          <a:xfrm>
            <a:off x="8544670" y="4395401"/>
            <a:ext cx="612000" cy="756083"/>
          </a:xfrm>
          <a:prstGeom prst="parallelogram">
            <a:avLst>
              <a:gd name="adj" fmla="val 82826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5" name="Параллелограмм 14"/>
          <p:cNvSpPr>
            <a:spLocks/>
          </p:cNvSpPr>
          <p:nvPr/>
        </p:nvSpPr>
        <p:spPr bwMode="auto">
          <a:xfrm>
            <a:off x="8388426" y="4731995"/>
            <a:ext cx="450016" cy="419489"/>
          </a:xfrm>
          <a:prstGeom prst="parallelogram">
            <a:avLst>
              <a:gd name="adj" fmla="val 6317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9" name="Параллелограмм 18"/>
          <p:cNvSpPr/>
          <p:nvPr/>
        </p:nvSpPr>
        <p:spPr bwMode="auto">
          <a:xfrm>
            <a:off x="53544" y="33469"/>
            <a:ext cx="252000" cy="351000"/>
          </a:xfrm>
          <a:prstGeom prst="parallelogram">
            <a:avLst>
              <a:gd name="adj" fmla="val 77525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661021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10226624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alphaModFix amt="4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37" r="6363" b="12310"/>
          <a:stretch/>
        </p:blipFill>
        <p:spPr>
          <a:xfrm>
            <a:off x="0" y="3845747"/>
            <a:ext cx="9144000" cy="12977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73846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732240" y="4894010"/>
            <a:ext cx="2057400" cy="24949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B0710FC0-0F1F-C743-8C50-92AD3CD32188}" type="slidenum">
              <a:rPr lang="en-US" smtClean="0">
                <a:solidFill>
                  <a:srgbClr val="A5A5A5"/>
                </a:solidFill>
              </a:rPr>
              <a:pPr/>
              <a:t>‹#›</a:t>
            </a:fld>
            <a:endParaRPr lang="en-US" dirty="0">
              <a:solidFill>
                <a:srgbClr val="A5A5A5"/>
              </a:solidFill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1115616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2627784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4860032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8174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99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>
                <a:solidFill>
                  <a:prstClr val="black"/>
                </a:solidFill>
              </a:rPr>
              <a:pPr marL="172882" indent="-172882" algn="r">
                <a:spcBef>
                  <a:spcPct val="50000"/>
                </a:spcBef>
              </a:pPr>
              <a:t>‹#›</a:t>
            </a:fld>
            <a:r>
              <a:rPr>
                <a:solidFill>
                  <a:prstClr val="black"/>
                </a:solidFill>
              </a:rPr>
              <a:t>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8743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</a:t>
            </a:r>
            <a:r>
              <a:rPr lang="ru-RU" sz="900" baseline="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12516753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alphaModFix amt="4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37" r="6363" b="12310"/>
          <a:stretch/>
        </p:blipFill>
        <p:spPr>
          <a:xfrm>
            <a:off x="0" y="3845747"/>
            <a:ext cx="9144000" cy="12977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73846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732240" y="4894010"/>
            <a:ext cx="2057400" cy="24949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B0710FC0-0F1F-C743-8C50-92AD3CD32188}" type="slidenum">
              <a:rPr lang="en-US" smtClean="0">
                <a:solidFill>
                  <a:srgbClr val="A5A5A5"/>
                </a:solidFill>
              </a:rPr>
              <a:pPr/>
              <a:t>‹#›</a:t>
            </a:fld>
            <a:endParaRPr lang="en-US" dirty="0">
              <a:solidFill>
                <a:srgbClr val="A5A5A5"/>
              </a:solidFill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1115616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2627784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4860032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906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0" y="0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518409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0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393444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E69D28B1-D38C-4099-962B-61EF5AC5C1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69852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араллелограмм 22"/>
          <p:cNvSpPr>
            <a:spLocks/>
          </p:cNvSpPr>
          <p:nvPr/>
        </p:nvSpPr>
        <p:spPr bwMode="auto">
          <a:xfrm>
            <a:off x="179544" y="-20537"/>
            <a:ext cx="288000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/>
        </p:nvSpPr>
        <p:spPr bwMode="auto">
          <a:xfrm>
            <a:off x="8544670" y="4395401"/>
            <a:ext cx="612000" cy="756083"/>
          </a:xfrm>
          <a:prstGeom prst="parallelogram">
            <a:avLst>
              <a:gd name="adj" fmla="val 82826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5" name="Параллелограмм 14"/>
          <p:cNvSpPr>
            <a:spLocks/>
          </p:cNvSpPr>
          <p:nvPr/>
        </p:nvSpPr>
        <p:spPr bwMode="auto">
          <a:xfrm>
            <a:off x="8388426" y="4731995"/>
            <a:ext cx="450016" cy="419489"/>
          </a:xfrm>
          <a:prstGeom prst="parallelogram">
            <a:avLst>
              <a:gd name="adj" fmla="val 6317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9" name="Параллелограмм 18"/>
          <p:cNvSpPr/>
          <p:nvPr/>
        </p:nvSpPr>
        <p:spPr bwMode="auto">
          <a:xfrm>
            <a:off x="53544" y="33469"/>
            <a:ext cx="252000" cy="351000"/>
          </a:xfrm>
          <a:prstGeom prst="parallelogram">
            <a:avLst>
              <a:gd name="adj" fmla="val 77525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1845820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99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 lang="ru-RU" smtClean="0"/>
              <a:pPr marL="172882" indent="-172882" algn="r">
                <a:spcBef>
                  <a:spcPct val="50000"/>
                </a:spcBef>
              </a:pPr>
              <a:t>‹#›</a:t>
            </a:fld>
            <a:r>
              <a:rPr lang="ru-RU"/>
              <a:t> </a:t>
            </a:r>
            <a:endParaRPr lang="ru-RU" dirty="0"/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</a:t>
            </a:r>
            <a:r>
              <a:rPr lang="ru-RU" sz="899" baseline="0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9840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картинкой на фоне">
    <p:bg>
      <p:bgPr>
        <a:gradFill>
          <a:gsLst>
            <a:gs pos="95000">
              <a:schemeClr val="accent2">
                <a:alpha val="70000"/>
              </a:schemeClr>
            </a:gs>
            <a:gs pos="5000">
              <a:schemeClr val="accent6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новая картинка</a:t>
            </a:r>
            <a:endParaRPr lang="en-US" dirty="0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440532" y="1572816"/>
            <a:ext cx="7641431" cy="131178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0531" y="3258741"/>
            <a:ext cx="5670947" cy="679847"/>
          </a:xfrm>
          <a:prstGeom prst="rect">
            <a:avLst/>
          </a:prstGeom>
        </p:spPr>
        <p:txBody>
          <a:bodyPr/>
          <a:lstStyle>
            <a:lvl1pPr>
              <a:defRPr lang="en-US" sz="18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9294326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картинкой под градиентом">
    <p:bg>
      <p:bgPr>
        <a:blipFill dpi="0" rotWithShape="1">
          <a:blip r:embed="rId2" cstate="print"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rot="10800000">
            <a:off x="-3937" y="0"/>
            <a:ext cx="9147937" cy="5143500"/>
          </a:xfrm>
          <a:prstGeom prst="rect">
            <a:avLst/>
          </a:prstGeom>
          <a:gradFill flip="none" rotWithShape="1">
            <a:gsLst>
              <a:gs pos="6000">
                <a:schemeClr val="accent2">
                  <a:alpha val="70000"/>
                </a:schemeClr>
              </a:gs>
              <a:gs pos="95000">
                <a:schemeClr val="accent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440531" y="1572816"/>
            <a:ext cx="7641431" cy="131178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0532" y="3258741"/>
            <a:ext cx="5670946" cy="679847"/>
          </a:xfrm>
          <a:prstGeom prst="rect">
            <a:avLst/>
          </a:prstGeom>
        </p:spPr>
        <p:txBody>
          <a:bodyPr/>
          <a:lstStyle>
            <a:lvl1pPr>
              <a:defRPr lang="en-US" sz="18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0506172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99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>
                <a:solidFill>
                  <a:prstClr val="black"/>
                </a:solidFill>
              </a:rPr>
              <a:pPr marL="172882" indent="-172882" algn="r">
                <a:spcBef>
                  <a:spcPct val="50000"/>
                </a:spcBef>
              </a:pPr>
              <a:t>‹#›</a:t>
            </a:fld>
            <a:r>
              <a:rPr>
                <a:solidFill>
                  <a:prstClr val="black"/>
                </a:solidFill>
              </a:rPr>
              <a:t>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2050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99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>
                <a:solidFill>
                  <a:prstClr val="black"/>
                </a:solidFill>
              </a:rPr>
              <a:pPr marL="172882" indent="-172882" algn="r">
                <a:spcBef>
                  <a:spcPct val="50000"/>
                </a:spcBef>
              </a:pPr>
              <a:t>‹#›</a:t>
            </a:fld>
            <a:r>
              <a:rPr>
                <a:solidFill>
                  <a:prstClr val="black"/>
                </a:solidFill>
              </a:rPr>
              <a:t>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4048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0" y="0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58230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99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>
                <a:solidFill>
                  <a:prstClr val="black"/>
                </a:solidFill>
              </a:rPr>
              <a:pPr marL="172882" indent="-172882" algn="r">
                <a:spcBef>
                  <a:spcPct val="50000"/>
                </a:spcBef>
              </a:pPr>
              <a:t>‹#›</a:t>
            </a:fld>
            <a:r>
              <a:rPr>
                <a:solidFill>
                  <a:prstClr val="black"/>
                </a:solidFill>
              </a:rPr>
              <a:t>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6815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16220524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0" y="0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39659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99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>
                <a:solidFill>
                  <a:prstClr val="black"/>
                </a:solidFill>
              </a:rPr>
              <a:pPr marL="172882" indent="-172882" algn="r">
                <a:spcBef>
                  <a:spcPct val="50000"/>
                </a:spcBef>
              </a:pPr>
              <a:t>‹#›</a:t>
            </a:fld>
            <a:r>
              <a:rPr>
                <a:solidFill>
                  <a:prstClr val="black"/>
                </a:solidFill>
              </a:rPr>
              <a:t>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4755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67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Департамент финансов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6384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7290906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73846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9741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defTabSz="914175"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4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9817996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alphaModFix amt="4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37" r="6363" b="12310"/>
          <a:stretch/>
        </p:blipFill>
        <p:spPr>
          <a:xfrm>
            <a:off x="0" y="3845757"/>
            <a:ext cx="9144000" cy="12977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8" y="273847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732240" y="4894010"/>
            <a:ext cx="2057400" cy="24949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pPr defTabSz="914175"/>
            <a:fld id="{B0710FC0-0F1F-C743-8C50-92AD3CD32188}" type="slidenum">
              <a:rPr lang="en-US" smtClean="0">
                <a:solidFill>
                  <a:srgbClr val="A5A5A5"/>
                </a:solidFill>
              </a:rPr>
              <a:pPr defTabSz="914175"/>
              <a:t>‹#›</a:t>
            </a:fld>
            <a:endParaRPr lang="en-US" dirty="0">
              <a:solidFill>
                <a:srgbClr val="A5A5A5"/>
              </a:solidFill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1115616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75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2627784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75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4860033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75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1335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2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pPr defTabSz="914175"/>
            <a:fld id="{734119B5-492C-4D31-8FF1-DB77C0AA6B52}" type="slidenum">
              <a:rPr lang="ru-RU" smtClean="0">
                <a:solidFill>
                  <a:prstClr val="black"/>
                </a:solidFill>
              </a:rPr>
              <a:pPr defTabSz="914175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9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52942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2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pPr defTabSz="914175"/>
            <a:fld id="{734119B5-492C-4D31-8FF1-DB77C0AA6B52}" type="slidenum">
              <a:rPr lang="ru-RU" smtClean="0">
                <a:solidFill>
                  <a:prstClr val="black"/>
                </a:solidFill>
              </a:rPr>
              <a:pPr defTabSz="914175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9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4627" y="349461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Комментарии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53097" y="3819713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Цель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57147" y="415239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17990715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0" y="0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pPr defTabSz="914175"/>
            <a:fld id="{734119B5-492C-4D31-8FF1-DB77C0AA6B52}" type="slidenum">
              <a:rPr lang="ru-RU" smtClean="0">
                <a:solidFill>
                  <a:prstClr val="black"/>
                </a:solidFill>
              </a:rPr>
              <a:pPr defTabSz="914175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6291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alphaModFix amt="4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37" r="6363" b="12310"/>
          <a:stretch/>
        </p:blipFill>
        <p:spPr>
          <a:xfrm>
            <a:off x="0" y="3845747"/>
            <a:ext cx="9144000" cy="12977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73846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732240" y="4894010"/>
            <a:ext cx="2057400" cy="24949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B0710FC0-0F1F-C743-8C50-92AD3CD32188}" type="slidenum">
              <a:rPr lang="en-US" smtClean="0">
                <a:solidFill>
                  <a:srgbClr val="A5A5A5"/>
                </a:solidFill>
              </a:rPr>
              <a:pPr/>
              <a:t>‹#›</a:t>
            </a:fld>
            <a:endParaRPr lang="en-US" dirty="0">
              <a:solidFill>
                <a:srgbClr val="A5A5A5"/>
              </a:solidFill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1115616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2627784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4860032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3341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E69D28B1-D38C-4099-962B-61EF5AC5C1EA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2788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араллелограмм 22"/>
          <p:cNvSpPr>
            <a:spLocks/>
          </p:cNvSpPr>
          <p:nvPr/>
        </p:nvSpPr>
        <p:spPr bwMode="auto">
          <a:xfrm>
            <a:off x="179544" y="-20537"/>
            <a:ext cx="288000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/>
        </p:nvSpPr>
        <p:spPr bwMode="auto">
          <a:xfrm>
            <a:off x="8544670" y="4395401"/>
            <a:ext cx="612000" cy="756083"/>
          </a:xfrm>
          <a:prstGeom prst="parallelogram">
            <a:avLst>
              <a:gd name="adj" fmla="val 82826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5" name="Параллелограмм 14"/>
          <p:cNvSpPr>
            <a:spLocks/>
          </p:cNvSpPr>
          <p:nvPr/>
        </p:nvSpPr>
        <p:spPr bwMode="auto">
          <a:xfrm>
            <a:off x="8388426" y="4731995"/>
            <a:ext cx="450016" cy="419489"/>
          </a:xfrm>
          <a:prstGeom prst="parallelogram">
            <a:avLst>
              <a:gd name="adj" fmla="val 6317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9" name="Параллелограмм 18"/>
          <p:cNvSpPr/>
          <p:nvPr/>
        </p:nvSpPr>
        <p:spPr bwMode="auto">
          <a:xfrm>
            <a:off x="53544" y="33469"/>
            <a:ext cx="252000" cy="351000"/>
          </a:xfrm>
          <a:prstGeom prst="parallelogram">
            <a:avLst>
              <a:gd name="adj" fmla="val 77525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9668484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4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5318581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alphaModFix amt="4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37" r="6363" b="12310"/>
          <a:stretch/>
        </p:blipFill>
        <p:spPr>
          <a:xfrm>
            <a:off x="0" y="3845757"/>
            <a:ext cx="9144000" cy="12977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8" y="273847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732240" y="4894010"/>
            <a:ext cx="2057400" cy="24949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B0710FC0-0F1F-C743-8C50-92AD3CD32188}" type="slidenum">
              <a:rPr lang="en-US" smtClean="0">
                <a:solidFill>
                  <a:srgbClr val="A5A5A5"/>
                </a:solidFill>
              </a:rPr>
              <a:pPr/>
              <a:t>‹#›</a:t>
            </a:fld>
            <a:endParaRPr lang="en-US" dirty="0">
              <a:solidFill>
                <a:srgbClr val="A5A5A5"/>
              </a:solidFill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1115616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2627784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4860033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713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2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9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98185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2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9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4627" y="349461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Комментарии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53097" y="3819713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Цель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57147" y="415239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6834599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0" y="0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814315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ЮЗ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7809" y="508733"/>
            <a:ext cx="9160222" cy="46279"/>
          </a:xfrm>
          <a:prstGeom prst="rect">
            <a:avLst/>
          </a:prstGeom>
          <a:gradFill>
            <a:gsLst>
              <a:gs pos="0">
                <a:srgbClr val="448868"/>
              </a:gs>
              <a:gs pos="50000">
                <a:srgbClr val="52A47D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4" tIns="46243" rIns="92484" bIns="46243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99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87" y="0"/>
            <a:ext cx="7091556" cy="5087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kumimoji="0" lang="ru-RU" sz="1499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defTabSz="913577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75745" y="4945815"/>
            <a:ext cx="503968" cy="261192"/>
          </a:xfrm>
          <a:prstGeom prst="rect">
            <a:avLst/>
          </a:prstGeom>
          <a:noFill/>
          <a:ln>
            <a:noFill/>
          </a:ln>
        </p:spPr>
        <p:txBody>
          <a:bodyPr wrap="square" lIns="91267" tIns="45633" rIns="91267" bIns="45633">
            <a:spAutoFit/>
          </a:bodyPr>
          <a:lstStyle>
            <a:lvl1pPr>
              <a:defRPr lang="ru-RU" sz="1099" b="1" smtClean="0">
                <a:solidFill>
                  <a:schemeClr val="tx1"/>
                </a:solidFill>
                <a:latin typeface="Century Gothic" panose="020B0502020202020204" pitchFamily="34" charset="0"/>
                <a:cs typeface="Calibri" pitchFamily="34" charset="0"/>
              </a:defRPr>
            </a:lvl1pPr>
          </a:lstStyle>
          <a:p>
            <a:pPr marL="172882" indent="-172882" algn="r">
              <a:spcBef>
                <a:spcPct val="50000"/>
              </a:spcBef>
            </a:pPr>
            <a:fld id="{DDC400C5-4025-42DC-9134-5A495FDED0B4}" type="slidenum">
              <a:rPr lang="ru-RU" smtClean="0"/>
              <a:pPr marL="172882" indent="-172882" algn="r">
                <a:spcBef>
                  <a:spcPct val="50000"/>
                </a:spcBef>
              </a:pPr>
              <a:t>‹#›</a:t>
            </a:fld>
            <a:r>
              <a:rPr lang="ru-RU"/>
              <a:t> </a:t>
            </a:r>
            <a:endParaRPr lang="ru-RU" dirty="0"/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-64059" y="4956125"/>
            <a:ext cx="3733152" cy="230444"/>
          </a:xfrm>
          <a:prstGeom prst="rect">
            <a:avLst/>
          </a:prstGeom>
          <a:noFill/>
          <a:ln>
            <a:noFill/>
          </a:ln>
        </p:spPr>
        <p:txBody>
          <a:bodyPr lIns="91183" tIns="45591" rIns="91183" bIns="45591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899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© Служба</a:t>
            </a:r>
            <a:r>
              <a:rPr lang="ru-RU" sz="899" baseline="0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cs typeface="Calibri" pitchFamily="34" charset="0"/>
              </a:rPr>
              <a:t> финансового директора</a:t>
            </a:r>
            <a:endParaRPr lang="en-US" sz="899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5944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0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41487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Пустой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Группа 25"/>
          <p:cNvGrpSpPr/>
          <p:nvPr userDrawn="1"/>
        </p:nvGrpSpPr>
        <p:grpSpPr>
          <a:xfrm>
            <a:off x="6044410" y="0"/>
            <a:ext cx="3099591" cy="5143501"/>
            <a:chOff x="8059213" y="0"/>
            <a:chExt cx="4132788" cy="6858001"/>
          </a:xfrm>
        </p:grpSpPr>
        <p:sp>
          <p:nvSpPr>
            <p:cNvPr id="27" name="Полилиния 26"/>
            <p:cNvSpPr/>
            <p:nvPr/>
          </p:nvSpPr>
          <p:spPr>
            <a:xfrm flipH="1" flipV="1">
              <a:off x="8929191" y="0"/>
              <a:ext cx="2155306" cy="1502624"/>
            </a:xfrm>
            <a:custGeom>
              <a:avLst/>
              <a:gdLst>
                <a:gd name="connsiteX0" fmla="*/ 2155306 w 2155306"/>
                <a:gd name="connsiteY0" fmla="*/ 1502624 h 1502624"/>
                <a:gd name="connsiteX1" fmla="*/ 2154902 w 2155306"/>
                <a:gd name="connsiteY1" fmla="*/ 1502624 h 1502624"/>
                <a:gd name="connsiteX2" fmla="*/ 0 w 2155306"/>
                <a:gd name="connsiteY2" fmla="*/ 0 h 1502624"/>
                <a:gd name="connsiteX3" fmla="*/ 2155306 w 2155306"/>
                <a:gd name="connsiteY3" fmla="*/ 1502624 h 150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5306" h="1502624">
                  <a:moveTo>
                    <a:pt x="2155306" y="1502624"/>
                  </a:moveTo>
                  <a:lnTo>
                    <a:pt x="2154902" y="1502624"/>
                  </a:lnTo>
                  <a:lnTo>
                    <a:pt x="0" y="0"/>
                  </a:lnTo>
                  <a:lnTo>
                    <a:pt x="2155306" y="15026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28" name="Полилиния 27"/>
            <p:cNvSpPr/>
            <p:nvPr/>
          </p:nvSpPr>
          <p:spPr>
            <a:xfrm flipH="1" flipV="1">
              <a:off x="11084498" y="1502624"/>
              <a:ext cx="10661" cy="7434"/>
            </a:xfrm>
            <a:custGeom>
              <a:avLst/>
              <a:gdLst>
                <a:gd name="connsiteX0" fmla="*/ 10661 w 10661"/>
                <a:gd name="connsiteY0" fmla="*/ 7434 h 7434"/>
                <a:gd name="connsiteX1" fmla="*/ 0 w 10661"/>
                <a:gd name="connsiteY1" fmla="*/ 2 h 7434"/>
                <a:gd name="connsiteX2" fmla="*/ 0 w 10661"/>
                <a:gd name="connsiteY2" fmla="*/ 0 h 7434"/>
                <a:gd name="connsiteX3" fmla="*/ 10661 w 10661"/>
                <a:gd name="connsiteY3" fmla="*/ 7434 h 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61" h="7434">
                  <a:moveTo>
                    <a:pt x="10661" y="743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10661" y="74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29" name="Полилиния 28"/>
            <p:cNvSpPr/>
            <p:nvPr/>
          </p:nvSpPr>
          <p:spPr>
            <a:xfrm flipH="1" flipV="1">
              <a:off x="10867815" y="2552026"/>
              <a:ext cx="604390" cy="1594589"/>
            </a:xfrm>
            <a:custGeom>
              <a:avLst/>
              <a:gdLst>
                <a:gd name="connsiteX0" fmla="*/ 1 w 604390"/>
                <a:gd name="connsiteY0" fmla="*/ 1594589 h 1594589"/>
                <a:gd name="connsiteX1" fmla="*/ 0 w 604390"/>
                <a:gd name="connsiteY1" fmla="*/ 1594588 h 1594589"/>
                <a:gd name="connsiteX2" fmla="*/ 604389 w 604390"/>
                <a:gd name="connsiteY2" fmla="*/ 0 h 1594589"/>
                <a:gd name="connsiteX3" fmla="*/ 604390 w 604390"/>
                <a:gd name="connsiteY3" fmla="*/ 0 h 1594589"/>
                <a:gd name="connsiteX4" fmla="*/ 1 w 604390"/>
                <a:gd name="connsiteY4" fmla="*/ 1594589 h 1594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4390" h="1594589">
                  <a:moveTo>
                    <a:pt x="1" y="1594589"/>
                  </a:moveTo>
                  <a:lnTo>
                    <a:pt x="0" y="1594588"/>
                  </a:lnTo>
                  <a:lnTo>
                    <a:pt x="604389" y="0"/>
                  </a:lnTo>
                  <a:lnTo>
                    <a:pt x="604390" y="0"/>
                  </a:lnTo>
                  <a:lnTo>
                    <a:pt x="1" y="15945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0" name="Полилиния 29"/>
            <p:cNvSpPr/>
            <p:nvPr/>
          </p:nvSpPr>
          <p:spPr>
            <a:xfrm flipH="1" flipV="1">
              <a:off x="10099339" y="5560181"/>
              <a:ext cx="436788" cy="1297819"/>
            </a:xfrm>
            <a:custGeom>
              <a:avLst/>
              <a:gdLst>
                <a:gd name="connsiteX0" fmla="*/ 436788 w 436788"/>
                <a:gd name="connsiteY0" fmla="*/ 1297819 h 1297819"/>
                <a:gd name="connsiteX1" fmla="*/ 0 w 436788"/>
                <a:gd name="connsiteY1" fmla="*/ 0 h 1297819"/>
                <a:gd name="connsiteX2" fmla="*/ 0 w 436788"/>
                <a:gd name="connsiteY2" fmla="*/ 0 h 1297819"/>
                <a:gd name="connsiteX3" fmla="*/ 436788 w 436788"/>
                <a:gd name="connsiteY3" fmla="*/ 1297819 h 1297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788" h="1297819">
                  <a:moveTo>
                    <a:pt x="436788" y="129781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36788" y="12978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1" name="Полилиния 30"/>
            <p:cNvSpPr/>
            <p:nvPr/>
          </p:nvSpPr>
          <p:spPr>
            <a:xfrm flipH="1" flipV="1">
              <a:off x="10814216" y="6032231"/>
              <a:ext cx="1377784" cy="825769"/>
            </a:xfrm>
            <a:custGeom>
              <a:avLst/>
              <a:gdLst>
                <a:gd name="connsiteX0" fmla="*/ 0 w 1377784"/>
                <a:gd name="connsiteY0" fmla="*/ 825769 h 825769"/>
                <a:gd name="connsiteX1" fmla="*/ 0 w 1377784"/>
                <a:gd name="connsiteY1" fmla="*/ 825769 h 825769"/>
                <a:gd name="connsiteX2" fmla="*/ 1377783 w 1377784"/>
                <a:gd name="connsiteY2" fmla="*/ 0 h 825769"/>
                <a:gd name="connsiteX3" fmla="*/ 1377784 w 1377784"/>
                <a:gd name="connsiteY3" fmla="*/ 0 h 825769"/>
                <a:gd name="connsiteX4" fmla="*/ 0 w 1377784"/>
                <a:gd name="connsiteY4" fmla="*/ 825769 h 82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7784" h="825769">
                  <a:moveTo>
                    <a:pt x="0" y="825769"/>
                  </a:moveTo>
                  <a:lnTo>
                    <a:pt x="0" y="825769"/>
                  </a:lnTo>
                  <a:lnTo>
                    <a:pt x="1377783" y="0"/>
                  </a:lnTo>
                  <a:lnTo>
                    <a:pt x="1377784" y="0"/>
                  </a:lnTo>
                  <a:lnTo>
                    <a:pt x="0" y="8257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2" name="Полилиния 31"/>
            <p:cNvSpPr/>
            <p:nvPr/>
          </p:nvSpPr>
          <p:spPr>
            <a:xfrm flipH="1" flipV="1">
              <a:off x="8867352" y="0"/>
              <a:ext cx="2227808" cy="2058102"/>
            </a:xfrm>
            <a:custGeom>
              <a:avLst/>
              <a:gdLst>
                <a:gd name="connsiteX0" fmla="*/ 2227808 w 2227808"/>
                <a:gd name="connsiteY0" fmla="*/ 2058102 h 2058102"/>
                <a:gd name="connsiteX1" fmla="*/ 2165969 w 2227808"/>
                <a:gd name="connsiteY1" fmla="*/ 2058102 h 2058102"/>
                <a:gd name="connsiteX2" fmla="*/ 10663 w 2227808"/>
                <a:gd name="connsiteY2" fmla="*/ 555478 h 2058102"/>
                <a:gd name="connsiteX3" fmla="*/ 2 w 2227808"/>
                <a:gd name="connsiteY3" fmla="*/ 548044 h 2058102"/>
                <a:gd name="connsiteX4" fmla="*/ 2 w 2227808"/>
                <a:gd name="connsiteY4" fmla="*/ 548046 h 2058102"/>
                <a:gd name="connsiteX5" fmla="*/ 0 w 2227808"/>
                <a:gd name="connsiteY5" fmla="*/ 548044 h 2058102"/>
                <a:gd name="connsiteX6" fmla="*/ 914119 w 2227808"/>
                <a:gd name="connsiteY6" fmla="*/ 0 h 2058102"/>
                <a:gd name="connsiteX7" fmla="*/ 2227808 w 2227808"/>
                <a:gd name="connsiteY7" fmla="*/ 2058102 h 205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7808" h="2058102">
                  <a:moveTo>
                    <a:pt x="2227808" y="2058102"/>
                  </a:moveTo>
                  <a:lnTo>
                    <a:pt x="2165969" y="2058102"/>
                  </a:lnTo>
                  <a:lnTo>
                    <a:pt x="10663" y="555478"/>
                  </a:lnTo>
                  <a:lnTo>
                    <a:pt x="2" y="548044"/>
                  </a:lnTo>
                  <a:lnTo>
                    <a:pt x="2" y="548046"/>
                  </a:lnTo>
                  <a:lnTo>
                    <a:pt x="0" y="548044"/>
                  </a:lnTo>
                  <a:lnTo>
                    <a:pt x="914119" y="0"/>
                  </a:lnTo>
                  <a:lnTo>
                    <a:pt x="2227808" y="2058102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3" name="Полилиния 32"/>
            <p:cNvSpPr/>
            <p:nvPr/>
          </p:nvSpPr>
          <p:spPr>
            <a:xfrm flipH="1" flipV="1">
              <a:off x="8929596" y="0"/>
              <a:ext cx="2165563" cy="1510056"/>
            </a:xfrm>
            <a:custGeom>
              <a:avLst/>
              <a:gdLst>
                <a:gd name="connsiteX0" fmla="*/ 2165563 w 2165563"/>
                <a:gd name="connsiteY0" fmla="*/ 1510056 h 1510056"/>
                <a:gd name="connsiteX1" fmla="*/ 323592 w 2165563"/>
                <a:gd name="connsiteY1" fmla="*/ 1510056 h 1510056"/>
                <a:gd name="connsiteX2" fmla="*/ 0 w 2165563"/>
                <a:gd name="connsiteY2" fmla="*/ 0 h 1510056"/>
                <a:gd name="connsiteX3" fmla="*/ 10661 w 2165563"/>
                <a:gd name="connsiteY3" fmla="*/ 7432 h 1510056"/>
                <a:gd name="connsiteX4" fmla="*/ 2165563 w 2165563"/>
                <a:gd name="connsiteY4" fmla="*/ 1510056 h 1510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5563" h="1510056">
                  <a:moveTo>
                    <a:pt x="2165563" y="1510056"/>
                  </a:moveTo>
                  <a:lnTo>
                    <a:pt x="323592" y="1510056"/>
                  </a:lnTo>
                  <a:lnTo>
                    <a:pt x="0" y="0"/>
                  </a:lnTo>
                  <a:lnTo>
                    <a:pt x="10661" y="7432"/>
                  </a:lnTo>
                  <a:lnTo>
                    <a:pt x="2165563" y="151005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4" name="Полилиния 33"/>
            <p:cNvSpPr/>
            <p:nvPr/>
          </p:nvSpPr>
          <p:spPr>
            <a:xfrm flipH="1" flipV="1">
              <a:off x="10771568" y="0"/>
              <a:ext cx="1420433" cy="1510057"/>
            </a:xfrm>
            <a:custGeom>
              <a:avLst/>
              <a:gdLst>
                <a:gd name="connsiteX0" fmla="*/ 1420433 w 1420433"/>
                <a:gd name="connsiteY0" fmla="*/ 1510057 h 1510057"/>
                <a:gd name="connsiteX1" fmla="*/ 0 w 1420433"/>
                <a:gd name="connsiteY1" fmla="*/ 1510057 h 1510057"/>
                <a:gd name="connsiteX2" fmla="*/ 0 w 1420433"/>
                <a:gd name="connsiteY2" fmla="*/ 1328266 h 1510057"/>
                <a:gd name="connsiteX3" fmla="*/ 1096841 w 1420433"/>
                <a:gd name="connsiteY3" fmla="*/ 0 h 1510057"/>
                <a:gd name="connsiteX4" fmla="*/ 1420433 w 1420433"/>
                <a:gd name="connsiteY4" fmla="*/ 1510057 h 151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433" h="1510057">
                  <a:moveTo>
                    <a:pt x="1420433" y="1510057"/>
                  </a:moveTo>
                  <a:lnTo>
                    <a:pt x="0" y="1510057"/>
                  </a:lnTo>
                  <a:lnTo>
                    <a:pt x="0" y="1328266"/>
                  </a:lnTo>
                  <a:lnTo>
                    <a:pt x="1096841" y="0"/>
                  </a:lnTo>
                  <a:lnTo>
                    <a:pt x="1420433" y="151005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5" name="Полилиния 34"/>
            <p:cNvSpPr/>
            <p:nvPr/>
          </p:nvSpPr>
          <p:spPr>
            <a:xfrm flipH="1" flipV="1">
              <a:off x="11095162" y="181794"/>
              <a:ext cx="1096839" cy="1486565"/>
            </a:xfrm>
            <a:custGeom>
              <a:avLst/>
              <a:gdLst>
                <a:gd name="connsiteX0" fmla="*/ 0 w 1096839"/>
                <a:gd name="connsiteY0" fmla="*/ 1486565 h 1486565"/>
                <a:gd name="connsiteX1" fmla="*/ 0 w 1096839"/>
                <a:gd name="connsiteY1" fmla="*/ 0 h 1486565"/>
                <a:gd name="connsiteX2" fmla="*/ 1096839 w 1096839"/>
                <a:gd name="connsiteY2" fmla="*/ 158301 h 1486565"/>
                <a:gd name="connsiteX3" fmla="*/ 0 w 1096839"/>
                <a:gd name="connsiteY3" fmla="*/ 1486565 h 1486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6839" h="1486565">
                  <a:moveTo>
                    <a:pt x="0" y="1486565"/>
                  </a:moveTo>
                  <a:lnTo>
                    <a:pt x="0" y="0"/>
                  </a:lnTo>
                  <a:lnTo>
                    <a:pt x="1096839" y="158301"/>
                  </a:lnTo>
                  <a:lnTo>
                    <a:pt x="0" y="1486565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6" name="Полилиния 35"/>
            <p:cNvSpPr/>
            <p:nvPr/>
          </p:nvSpPr>
          <p:spPr>
            <a:xfrm flipH="1" flipV="1">
              <a:off x="10181042" y="1510059"/>
              <a:ext cx="1291333" cy="1039566"/>
            </a:xfrm>
            <a:custGeom>
              <a:avLst/>
              <a:gdLst>
                <a:gd name="connsiteX0" fmla="*/ 377214 w 1291333"/>
                <a:gd name="connsiteY0" fmla="*/ 1039566 h 1039566"/>
                <a:gd name="connsiteX1" fmla="*/ 0 w 1291333"/>
                <a:gd name="connsiteY1" fmla="*/ 806 h 1039566"/>
                <a:gd name="connsiteX2" fmla="*/ 1069 w 1291333"/>
                <a:gd name="connsiteY2" fmla="*/ 0 h 1039566"/>
                <a:gd name="connsiteX3" fmla="*/ 1427 w 1291333"/>
                <a:gd name="connsiteY3" fmla="*/ 136 h 1039566"/>
                <a:gd name="connsiteX4" fmla="*/ 1276794 w 1291333"/>
                <a:gd name="connsiteY4" fmla="*/ 488364 h 1039566"/>
                <a:gd name="connsiteX5" fmla="*/ 1279530 w 1291333"/>
                <a:gd name="connsiteY5" fmla="*/ 496853 h 1039566"/>
                <a:gd name="connsiteX6" fmla="*/ 1285555 w 1291333"/>
                <a:gd name="connsiteY6" fmla="*/ 489321 h 1039566"/>
                <a:gd name="connsiteX7" fmla="*/ 1291333 w 1291333"/>
                <a:gd name="connsiteY7" fmla="*/ 491522 h 1039566"/>
                <a:gd name="connsiteX8" fmla="*/ 377214 w 1291333"/>
                <a:gd name="connsiteY8" fmla="*/ 1039566 h 103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1333" h="1039566">
                  <a:moveTo>
                    <a:pt x="377214" y="1039566"/>
                  </a:moveTo>
                  <a:lnTo>
                    <a:pt x="0" y="806"/>
                  </a:lnTo>
                  <a:lnTo>
                    <a:pt x="1069" y="0"/>
                  </a:lnTo>
                  <a:lnTo>
                    <a:pt x="1427" y="136"/>
                  </a:lnTo>
                  <a:lnTo>
                    <a:pt x="1276794" y="488364"/>
                  </a:lnTo>
                  <a:lnTo>
                    <a:pt x="1279530" y="496853"/>
                  </a:lnTo>
                  <a:lnTo>
                    <a:pt x="1285555" y="489321"/>
                  </a:lnTo>
                  <a:lnTo>
                    <a:pt x="1291333" y="491522"/>
                  </a:lnTo>
                  <a:lnTo>
                    <a:pt x="377214" y="103956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7" name="Полилиния 36"/>
            <p:cNvSpPr/>
            <p:nvPr/>
          </p:nvSpPr>
          <p:spPr>
            <a:xfrm flipH="1" flipV="1">
              <a:off x="11095162" y="1510059"/>
              <a:ext cx="1096839" cy="1038759"/>
            </a:xfrm>
            <a:custGeom>
              <a:avLst/>
              <a:gdLst>
                <a:gd name="connsiteX0" fmla="*/ 1096839 w 1096839"/>
                <a:gd name="connsiteY0" fmla="*/ 1038759 h 1038759"/>
                <a:gd name="connsiteX1" fmla="*/ 0 w 1096839"/>
                <a:gd name="connsiteY1" fmla="*/ 880458 h 1038759"/>
                <a:gd name="connsiteX2" fmla="*/ 0 w 1096839"/>
                <a:gd name="connsiteY2" fmla="*/ 542904 h 1038759"/>
                <a:gd name="connsiteX3" fmla="*/ 719626 w 1096839"/>
                <a:gd name="connsiteY3" fmla="*/ 0 h 1038759"/>
                <a:gd name="connsiteX4" fmla="*/ 1096839 w 1096839"/>
                <a:gd name="connsiteY4" fmla="*/ 1038759 h 1038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839" h="1038759">
                  <a:moveTo>
                    <a:pt x="1096839" y="1038759"/>
                  </a:moveTo>
                  <a:lnTo>
                    <a:pt x="0" y="880458"/>
                  </a:lnTo>
                  <a:lnTo>
                    <a:pt x="0" y="542904"/>
                  </a:lnTo>
                  <a:lnTo>
                    <a:pt x="719626" y="0"/>
                  </a:lnTo>
                  <a:lnTo>
                    <a:pt x="1096839" y="103875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8" name="Полилиния 37"/>
            <p:cNvSpPr/>
            <p:nvPr/>
          </p:nvSpPr>
          <p:spPr>
            <a:xfrm flipH="1" flipV="1">
              <a:off x="8840554" y="2052772"/>
              <a:ext cx="2027258" cy="2093844"/>
            </a:xfrm>
            <a:custGeom>
              <a:avLst/>
              <a:gdLst>
                <a:gd name="connsiteX0" fmla="*/ 680993 w 2027258"/>
                <a:gd name="connsiteY0" fmla="*/ 2086312 h 2093844"/>
                <a:gd name="connsiteX1" fmla="*/ 678557 w 2027258"/>
                <a:gd name="connsiteY1" fmla="*/ 2085384 h 2093844"/>
                <a:gd name="connsiteX2" fmla="*/ 671357 w 2027258"/>
                <a:gd name="connsiteY2" fmla="*/ 2082641 h 2093844"/>
                <a:gd name="connsiteX3" fmla="*/ 285 w 2027258"/>
                <a:gd name="connsiteY3" fmla="*/ 883 h 2093844"/>
                <a:gd name="connsiteX4" fmla="*/ 0 w 2027258"/>
                <a:gd name="connsiteY4" fmla="*/ 0 h 2093844"/>
                <a:gd name="connsiteX5" fmla="*/ 0 w 2027258"/>
                <a:gd name="connsiteY5" fmla="*/ 0 h 2093844"/>
                <a:gd name="connsiteX6" fmla="*/ 335990 w 2027258"/>
                <a:gd name="connsiteY6" fmla="*/ 66852 h 2093844"/>
                <a:gd name="connsiteX7" fmla="*/ 2027258 w 2027258"/>
                <a:gd name="connsiteY7" fmla="*/ 403361 h 2093844"/>
                <a:gd name="connsiteX8" fmla="*/ 2027257 w 2027258"/>
                <a:gd name="connsiteY8" fmla="*/ 403362 h 2093844"/>
                <a:gd name="connsiteX9" fmla="*/ 2027258 w 2027258"/>
                <a:gd name="connsiteY9" fmla="*/ 403362 h 2093844"/>
                <a:gd name="connsiteX10" fmla="*/ 674967 w 2027258"/>
                <a:gd name="connsiteY10" fmla="*/ 2093844 h 2093844"/>
                <a:gd name="connsiteX11" fmla="*/ 672231 w 2027258"/>
                <a:gd name="connsiteY11" fmla="*/ 2085355 h 2093844"/>
                <a:gd name="connsiteX12" fmla="*/ 671356 w 2027258"/>
                <a:gd name="connsiteY12" fmla="*/ 2082641 h 2093844"/>
                <a:gd name="connsiteX13" fmla="*/ 678556 w 2027258"/>
                <a:gd name="connsiteY13" fmla="*/ 2085384 h 2093844"/>
                <a:gd name="connsiteX14" fmla="*/ 680992 w 2027258"/>
                <a:gd name="connsiteY14" fmla="*/ 2086312 h 209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27258" h="2093844">
                  <a:moveTo>
                    <a:pt x="680993" y="2086312"/>
                  </a:moveTo>
                  <a:lnTo>
                    <a:pt x="678557" y="2085384"/>
                  </a:lnTo>
                  <a:lnTo>
                    <a:pt x="671357" y="2082641"/>
                  </a:lnTo>
                  <a:lnTo>
                    <a:pt x="285" y="883"/>
                  </a:lnTo>
                  <a:lnTo>
                    <a:pt x="0" y="0"/>
                  </a:lnTo>
                  <a:lnTo>
                    <a:pt x="0" y="0"/>
                  </a:lnTo>
                  <a:lnTo>
                    <a:pt x="335990" y="66852"/>
                  </a:lnTo>
                  <a:lnTo>
                    <a:pt x="2027258" y="403361"/>
                  </a:lnTo>
                  <a:lnTo>
                    <a:pt x="2027257" y="403362"/>
                  </a:lnTo>
                  <a:lnTo>
                    <a:pt x="2027258" y="403362"/>
                  </a:lnTo>
                  <a:close/>
                  <a:moveTo>
                    <a:pt x="674967" y="2093844"/>
                  </a:moveTo>
                  <a:lnTo>
                    <a:pt x="672231" y="2085355"/>
                  </a:lnTo>
                  <a:lnTo>
                    <a:pt x="671356" y="2082641"/>
                  </a:lnTo>
                  <a:lnTo>
                    <a:pt x="678556" y="2085384"/>
                  </a:lnTo>
                  <a:lnTo>
                    <a:pt x="680992" y="2086312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39" name="Полилиния 38"/>
            <p:cNvSpPr/>
            <p:nvPr/>
          </p:nvSpPr>
          <p:spPr>
            <a:xfrm flipH="1" flipV="1">
              <a:off x="10195580" y="2061261"/>
              <a:ext cx="1276624" cy="2085356"/>
            </a:xfrm>
            <a:custGeom>
              <a:avLst/>
              <a:gdLst>
                <a:gd name="connsiteX0" fmla="*/ 1276624 w 1276624"/>
                <a:gd name="connsiteY0" fmla="*/ 2085356 h 2085356"/>
                <a:gd name="connsiteX1" fmla="*/ 1257 w 1276624"/>
                <a:gd name="connsiteY1" fmla="*/ 1597128 h 2085356"/>
                <a:gd name="connsiteX2" fmla="*/ 900 w 1276624"/>
                <a:gd name="connsiteY2" fmla="*/ 1596992 h 2085356"/>
                <a:gd name="connsiteX3" fmla="*/ 1701 w 1276624"/>
                <a:gd name="connsiteY3" fmla="*/ 1596387 h 2085356"/>
                <a:gd name="connsiteX4" fmla="*/ 0 w 1276624"/>
                <a:gd name="connsiteY4" fmla="*/ 1594591 h 2085356"/>
                <a:gd name="connsiteX5" fmla="*/ 604389 w 1276624"/>
                <a:gd name="connsiteY5" fmla="*/ 2 h 2085356"/>
                <a:gd name="connsiteX6" fmla="*/ 604388 w 1276624"/>
                <a:gd name="connsiteY6" fmla="*/ 2 h 2085356"/>
                <a:gd name="connsiteX7" fmla="*/ 604389 w 1276624"/>
                <a:gd name="connsiteY7" fmla="*/ 0 h 2085356"/>
                <a:gd name="connsiteX8" fmla="*/ 604677 w 1276624"/>
                <a:gd name="connsiteY8" fmla="*/ 884 h 2085356"/>
                <a:gd name="connsiteX9" fmla="*/ 1275749 w 1276624"/>
                <a:gd name="connsiteY9" fmla="*/ 2082642 h 2085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6624" h="2085356">
                  <a:moveTo>
                    <a:pt x="1276624" y="2085356"/>
                  </a:moveTo>
                  <a:lnTo>
                    <a:pt x="1257" y="1597128"/>
                  </a:lnTo>
                  <a:lnTo>
                    <a:pt x="900" y="1596992"/>
                  </a:lnTo>
                  <a:lnTo>
                    <a:pt x="1701" y="1596387"/>
                  </a:lnTo>
                  <a:lnTo>
                    <a:pt x="0" y="1594591"/>
                  </a:lnTo>
                  <a:lnTo>
                    <a:pt x="604389" y="2"/>
                  </a:lnTo>
                  <a:lnTo>
                    <a:pt x="604388" y="2"/>
                  </a:lnTo>
                  <a:lnTo>
                    <a:pt x="604389" y="0"/>
                  </a:lnTo>
                  <a:lnTo>
                    <a:pt x="604677" y="884"/>
                  </a:lnTo>
                  <a:lnTo>
                    <a:pt x="1275749" y="2082642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0" name="Полилиния 39"/>
            <p:cNvSpPr/>
            <p:nvPr/>
          </p:nvSpPr>
          <p:spPr>
            <a:xfrm flipH="1" flipV="1">
              <a:off x="11470504" y="2005913"/>
              <a:ext cx="721497" cy="1306232"/>
            </a:xfrm>
            <a:custGeom>
              <a:avLst/>
              <a:gdLst>
                <a:gd name="connsiteX0" fmla="*/ 0 w 721497"/>
                <a:gd name="connsiteY0" fmla="*/ 1305618 h 1306232"/>
                <a:gd name="connsiteX1" fmla="*/ 0 w 721497"/>
                <a:gd name="connsiteY1" fmla="*/ 1234 h 1306232"/>
                <a:gd name="connsiteX2" fmla="*/ 0 w 721497"/>
                <a:gd name="connsiteY2" fmla="*/ 0 h 1306232"/>
                <a:gd name="connsiteX3" fmla="*/ 719795 w 721497"/>
                <a:gd name="connsiteY3" fmla="*/ 760119 h 1306232"/>
                <a:gd name="connsiteX4" fmla="*/ 719114 w 721497"/>
                <a:gd name="connsiteY4" fmla="*/ 761915 h 1306232"/>
                <a:gd name="connsiteX5" fmla="*/ 719116 w 721497"/>
                <a:gd name="connsiteY5" fmla="*/ 761916 h 1306232"/>
                <a:gd name="connsiteX6" fmla="*/ 719114 w 721497"/>
                <a:gd name="connsiteY6" fmla="*/ 761920 h 1306232"/>
                <a:gd name="connsiteX7" fmla="*/ 719114 w 721497"/>
                <a:gd name="connsiteY7" fmla="*/ 761919 h 1306232"/>
                <a:gd name="connsiteX8" fmla="*/ 719113 w 721497"/>
                <a:gd name="connsiteY8" fmla="*/ 761920 h 1306232"/>
                <a:gd name="connsiteX9" fmla="*/ 1 w 721497"/>
                <a:gd name="connsiteY9" fmla="*/ 1306232 h 1306232"/>
                <a:gd name="connsiteX10" fmla="*/ 1 w 721497"/>
                <a:gd name="connsiteY10" fmla="*/ 1305618 h 1306232"/>
                <a:gd name="connsiteX11" fmla="*/ 719114 w 721497"/>
                <a:gd name="connsiteY11" fmla="*/ 761920 h 1306232"/>
                <a:gd name="connsiteX12" fmla="*/ 719115 w 721497"/>
                <a:gd name="connsiteY12" fmla="*/ 761920 h 1306232"/>
                <a:gd name="connsiteX13" fmla="*/ 719117 w 721497"/>
                <a:gd name="connsiteY13" fmla="*/ 761916 h 1306232"/>
                <a:gd name="connsiteX14" fmla="*/ 719116 w 721497"/>
                <a:gd name="connsiteY14" fmla="*/ 761916 h 1306232"/>
                <a:gd name="connsiteX15" fmla="*/ 719116 w 721497"/>
                <a:gd name="connsiteY15" fmla="*/ 761916 h 1306232"/>
                <a:gd name="connsiteX16" fmla="*/ 719115 w 721497"/>
                <a:gd name="connsiteY16" fmla="*/ 761915 h 1306232"/>
                <a:gd name="connsiteX17" fmla="*/ 719796 w 721497"/>
                <a:gd name="connsiteY17" fmla="*/ 760119 h 1306232"/>
                <a:gd name="connsiteX18" fmla="*/ 719797 w 721497"/>
                <a:gd name="connsiteY18" fmla="*/ 760120 h 1306232"/>
                <a:gd name="connsiteX19" fmla="*/ 719797 w 721497"/>
                <a:gd name="connsiteY19" fmla="*/ 760121 h 1306232"/>
                <a:gd name="connsiteX20" fmla="*/ 721497 w 721497"/>
                <a:gd name="connsiteY20" fmla="*/ 761916 h 1306232"/>
                <a:gd name="connsiteX21" fmla="*/ 720696 w 721497"/>
                <a:gd name="connsiteY21" fmla="*/ 762521 h 1306232"/>
                <a:gd name="connsiteX22" fmla="*/ 720697 w 721497"/>
                <a:gd name="connsiteY22" fmla="*/ 762521 h 1306232"/>
                <a:gd name="connsiteX23" fmla="*/ 721054 w 721497"/>
                <a:gd name="connsiteY23" fmla="*/ 762657 h 1306232"/>
                <a:gd name="connsiteX24" fmla="*/ 720696 w 721497"/>
                <a:gd name="connsiteY24" fmla="*/ 762521 h 1306232"/>
                <a:gd name="connsiteX25" fmla="*/ 719627 w 721497"/>
                <a:gd name="connsiteY25" fmla="*/ 763327 h 1306232"/>
                <a:gd name="connsiteX26" fmla="*/ 719627 w 721497"/>
                <a:gd name="connsiteY26" fmla="*/ 763328 h 130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21497" h="1306232">
                  <a:moveTo>
                    <a:pt x="0" y="1305618"/>
                  </a:moveTo>
                  <a:lnTo>
                    <a:pt x="0" y="1234"/>
                  </a:lnTo>
                  <a:lnTo>
                    <a:pt x="0" y="0"/>
                  </a:lnTo>
                  <a:lnTo>
                    <a:pt x="719795" y="760119"/>
                  </a:lnTo>
                  <a:lnTo>
                    <a:pt x="719114" y="761915"/>
                  </a:lnTo>
                  <a:lnTo>
                    <a:pt x="719116" y="761916"/>
                  </a:lnTo>
                  <a:lnTo>
                    <a:pt x="719114" y="761920"/>
                  </a:lnTo>
                  <a:lnTo>
                    <a:pt x="719114" y="761919"/>
                  </a:lnTo>
                  <a:lnTo>
                    <a:pt x="719113" y="761920"/>
                  </a:lnTo>
                  <a:close/>
                  <a:moveTo>
                    <a:pt x="1" y="1306232"/>
                  </a:moveTo>
                  <a:lnTo>
                    <a:pt x="1" y="1305618"/>
                  </a:lnTo>
                  <a:lnTo>
                    <a:pt x="719114" y="761920"/>
                  </a:lnTo>
                  <a:lnTo>
                    <a:pt x="719115" y="761920"/>
                  </a:lnTo>
                  <a:lnTo>
                    <a:pt x="719117" y="761916"/>
                  </a:lnTo>
                  <a:lnTo>
                    <a:pt x="719116" y="761916"/>
                  </a:lnTo>
                  <a:lnTo>
                    <a:pt x="719116" y="761916"/>
                  </a:lnTo>
                  <a:lnTo>
                    <a:pt x="719115" y="761915"/>
                  </a:lnTo>
                  <a:lnTo>
                    <a:pt x="719796" y="760119"/>
                  </a:lnTo>
                  <a:lnTo>
                    <a:pt x="719797" y="760120"/>
                  </a:lnTo>
                  <a:lnTo>
                    <a:pt x="719797" y="760121"/>
                  </a:lnTo>
                  <a:lnTo>
                    <a:pt x="721497" y="761916"/>
                  </a:lnTo>
                  <a:lnTo>
                    <a:pt x="720696" y="762521"/>
                  </a:lnTo>
                  <a:lnTo>
                    <a:pt x="720697" y="762521"/>
                  </a:lnTo>
                  <a:lnTo>
                    <a:pt x="721054" y="762657"/>
                  </a:lnTo>
                  <a:lnTo>
                    <a:pt x="720696" y="762521"/>
                  </a:lnTo>
                  <a:lnTo>
                    <a:pt x="719627" y="763327"/>
                  </a:lnTo>
                  <a:lnTo>
                    <a:pt x="719627" y="7633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1" name="Полилиния 40"/>
            <p:cNvSpPr/>
            <p:nvPr/>
          </p:nvSpPr>
          <p:spPr>
            <a:xfrm flipH="1" flipV="1">
              <a:off x="10867816" y="2552027"/>
              <a:ext cx="1324184" cy="1594588"/>
            </a:xfrm>
            <a:custGeom>
              <a:avLst/>
              <a:gdLst>
                <a:gd name="connsiteX0" fmla="*/ 719795 w 1324184"/>
                <a:gd name="connsiteY0" fmla="*/ 1594588 h 1594588"/>
                <a:gd name="connsiteX1" fmla="*/ 0 w 1324184"/>
                <a:gd name="connsiteY1" fmla="*/ 834469 h 1594588"/>
                <a:gd name="connsiteX2" fmla="*/ 0 w 1324184"/>
                <a:gd name="connsiteY2" fmla="*/ 70462 h 1594588"/>
                <a:gd name="connsiteX3" fmla="*/ 1324184 w 1324184"/>
                <a:gd name="connsiteY3" fmla="*/ 0 h 1594588"/>
                <a:gd name="connsiteX4" fmla="*/ 719795 w 1324184"/>
                <a:gd name="connsiteY4" fmla="*/ 1594588 h 15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4184" h="1594588">
                  <a:moveTo>
                    <a:pt x="719795" y="1594588"/>
                  </a:moveTo>
                  <a:lnTo>
                    <a:pt x="0" y="834469"/>
                  </a:lnTo>
                  <a:lnTo>
                    <a:pt x="0" y="70462"/>
                  </a:lnTo>
                  <a:lnTo>
                    <a:pt x="1324184" y="0"/>
                  </a:lnTo>
                  <a:lnTo>
                    <a:pt x="719795" y="159458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2" name="Полилиния 41"/>
            <p:cNvSpPr/>
            <p:nvPr/>
          </p:nvSpPr>
          <p:spPr>
            <a:xfrm flipH="1" flipV="1">
              <a:off x="8840554" y="3743255"/>
              <a:ext cx="2027259" cy="1576891"/>
            </a:xfrm>
            <a:custGeom>
              <a:avLst/>
              <a:gdLst>
                <a:gd name="connsiteX0" fmla="*/ 2027259 w 2027259"/>
                <a:gd name="connsiteY0" fmla="*/ 1576891 h 1576891"/>
                <a:gd name="connsiteX1" fmla="*/ 0 w 2027259"/>
                <a:gd name="connsiteY1" fmla="*/ 1173530 h 1576891"/>
                <a:gd name="connsiteX2" fmla="*/ 1910002 w 2027259"/>
                <a:gd name="connsiteY2" fmla="*/ 0 h 1576891"/>
                <a:gd name="connsiteX3" fmla="*/ 2027259 w 2027259"/>
                <a:gd name="connsiteY3" fmla="*/ 1576891 h 1576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7259" h="1576891">
                  <a:moveTo>
                    <a:pt x="2027259" y="1576891"/>
                  </a:moveTo>
                  <a:lnTo>
                    <a:pt x="0" y="1173530"/>
                  </a:lnTo>
                  <a:lnTo>
                    <a:pt x="1910002" y="0"/>
                  </a:lnTo>
                  <a:lnTo>
                    <a:pt x="2027259" y="157689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3" name="Полилиния 42"/>
            <p:cNvSpPr/>
            <p:nvPr/>
          </p:nvSpPr>
          <p:spPr>
            <a:xfrm flipH="1" flipV="1">
              <a:off x="10867816" y="4076155"/>
              <a:ext cx="1324184" cy="1185863"/>
            </a:xfrm>
            <a:custGeom>
              <a:avLst/>
              <a:gdLst>
                <a:gd name="connsiteX0" fmla="*/ 0 w 1324184"/>
                <a:gd name="connsiteY0" fmla="*/ 1185863 h 1185863"/>
                <a:gd name="connsiteX1" fmla="*/ 0 w 1324184"/>
                <a:gd name="connsiteY1" fmla="*/ 0 h 1185863"/>
                <a:gd name="connsiteX2" fmla="*/ 1324184 w 1324184"/>
                <a:gd name="connsiteY2" fmla="*/ 1115401 h 1185863"/>
                <a:gd name="connsiteX3" fmla="*/ 0 w 1324184"/>
                <a:gd name="connsiteY3" fmla="*/ 1185863 h 118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4184" h="1185863">
                  <a:moveTo>
                    <a:pt x="0" y="1185863"/>
                  </a:moveTo>
                  <a:lnTo>
                    <a:pt x="0" y="0"/>
                  </a:lnTo>
                  <a:lnTo>
                    <a:pt x="1324184" y="1115401"/>
                  </a:lnTo>
                  <a:lnTo>
                    <a:pt x="0" y="1185863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4" name="Полилиния 43"/>
            <p:cNvSpPr/>
            <p:nvPr/>
          </p:nvSpPr>
          <p:spPr>
            <a:xfrm flipH="1" flipV="1">
              <a:off x="8957811" y="4146617"/>
              <a:ext cx="1910002" cy="1413564"/>
            </a:xfrm>
            <a:custGeom>
              <a:avLst/>
              <a:gdLst>
                <a:gd name="connsiteX0" fmla="*/ 0 w 1910002"/>
                <a:gd name="connsiteY0" fmla="*/ 1413564 h 1413564"/>
                <a:gd name="connsiteX1" fmla="*/ 768475 w 1910002"/>
                <a:gd name="connsiteY1" fmla="*/ 0 h 1413564"/>
                <a:gd name="connsiteX2" fmla="*/ 768619 w 1910002"/>
                <a:gd name="connsiteY2" fmla="*/ 31 h 1413564"/>
                <a:gd name="connsiteX3" fmla="*/ 1910002 w 1910002"/>
                <a:gd name="connsiteY3" fmla="*/ 240033 h 1413564"/>
                <a:gd name="connsiteX4" fmla="*/ 0 w 1910002"/>
                <a:gd name="connsiteY4" fmla="*/ 1413564 h 141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0002" h="1413564">
                  <a:moveTo>
                    <a:pt x="0" y="1413564"/>
                  </a:moveTo>
                  <a:lnTo>
                    <a:pt x="768475" y="0"/>
                  </a:lnTo>
                  <a:lnTo>
                    <a:pt x="768619" y="31"/>
                  </a:lnTo>
                  <a:lnTo>
                    <a:pt x="1910002" y="240033"/>
                  </a:lnTo>
                  <a:lnTo>
                    <a:pt x="0" y="1413564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5" name="Полилиния 44"/>
            <p:cNvSpPr/>
            <p:nvPr/>
          </p:nvSpPr>
          <p:spPr>
            <a:xfrm flipH="1" flipV="1">
              <a:off x="10099340" y="4146617"/>
              <a:ext cx="2092661" cy="1527943"/>
            </a:xfrm>
            <a:custGeom>
              <a:avLst/>
              <a:gdLst>
                <a:gd name="connsiteX0" fmla="*/ 1324186 w 2092661"/>
                <a:gd name="connsiteY0" fmla="*/ 1527943 h 1527943"/>
                <a:gd name="connsiteX1" fmla="*/ 0 w 2092661"/>
                <a:gd name="connsiteY1" fmla="*/ 412540 h 1527943"/>
                <a:gd name="connsiteX2" fmla="*/ 0 w 2092661"/>
                <a:gd name="connsiteY2" fmla="*/ 0 h 1527943"/>
                <a:gd name="connsiteX3" fmla="*/ 2092661 w 2092661"/>
                <a:gd name="connsiteY3" fmla="*/ 114378 h 1527943"/>
                <a:gd name="connsiteX4" fmla="*/ 2092661 w 2092661"/>
                <a:gd name="connsiteY4" fmla="*/ 114379 h 1527943"/>
                <a:gd name="connsiteX5" fmla="*/ 1324186 w 2092661"/>
                <a:gd name="connsiteY5" fmla="*/ 1527943 h 1527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2661" h="1527943">
                  <a:moveTo>
                    <a:pt x="1324186" y="1527943"/>
                  </a:moveTo>
                  <a:lnTo>
                    <a:pt x="0" y="412540"/>
                  </a:lnTo>
                  <a:lnTo>
                    <a:pt x="0" y="0"/>
                  </a:lnTo>
                  <a:lnTo>
                    <a:pt x="2092661" y="114378"/>
                  </a:lnTo>
                  <a:lnTo>
                    <a:pt x="2092661" y="114379"/>
                  </a:lnTo>
                  <a:lnTo>
                    <a:pt x="1324186" y="1527943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6" name="Полилиния 45"/>
            <p:cNvSpPr/>
            <p:nvPr/>
          </p:nvSpPr>
          <p:spPr>
            <a:xfrm flipH="1" flipV="1">
              <a:off x="10099340" y="5560182"/>
              <a:ext cx="2092661" cy="1297818"/>
            </a:xfrm>
            <a:custGeom>
              <a:avLst/>
              <a:gdLst>
                <a:gd name="connsiteX0" fmla="*/ 2092661 w 2092661"/>
                <a:gd name="connsiteY0" fmla="*/ 1297818 h 1297818"/>
                <a:gd name="connsiteX1" fmla="*/ 0 w 2092661"/>
                <a:gd name="connsiteY1" fmla="*/ 1183440 h 1297818"/>
                <a:gd name="connsiteX2" fmla="*/ 0 w 2092661"/>
                <a:gd name="connsiteY2" fmla="*/ 1176850 h 1297818"/>
                <a:gd name="connsiteX3" fmla="*/ 0 w 2092661"/>
                <a:gd name="connsiteY3" fmla="*/ 825769 h 1297818"/>
                <a:gd name="connsiteX4" fmla="*/ 1377784 w 2092661"/>
                <a:gd name="connsiteY4" fmla="*/ 0 h 1297818"/>
                <a:gd name="connsiteX5" fmla="*/ 1655873 w 2092661"/>
                <a:gd name="connsiteY5" fmla="*/ 0 h 1297818"/>
                <a:gd name="connsiteX6" fmla="*/ 2092661 w 2092661"/>
                <a:gd name="connsiteY6" fmla="*/ 1297818 h 129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2661" h="1297818">
                  <a:moveTo>
                    <a:pt x="2092661" y="1297818"/>
                  </a:moveTo>
                  <a:lnTo>
                    <a:pt x="0" y="1183440"/>
                  </a:lnTo>
                  <a:lnTo>
                    <a:pt x="0" y="1176850"/>
                  </a:lnTo>
                  <a:lnTo>
                    <a:pt x="0" y="825769"/>
                  </a:lnTo>
                  <a:lnTo>
                    <a:pt x="1377784" y="0"/>
                  </a:lnTo>
                  <a:lnTo>
                    <a:pt x="1655873" y="0"/>
                  </a:lnTo>
                  <a:lnTo>
                    <a:pt x="2092661" y="129781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7" name="Полилиния 46"/>
            <p:cNvSpPr/>
            <p:nvPr/>
          </p:nvSpPr>
          <p:spPr>
            <a:xfrm flipH="1" flipV="1">
              <a:off x="10814218" y="6032231"/>
              <a:ext cx="1377783" cy="825769"/>
            </a:xfrm>
            <a:custGeom>
              <a:avLst/>
              <a:gdLst>
                <a:gd name="connsiteX0" fmla="*/ 0 w 1377783"/>
                <a:gd name="connsiteY0" fmla="*/ 825769 h 825769"/>
                <a:gd name="connsiteX1" fmla="*/ 0 w 1377783"/>
                <a:gd name="connsiteY1" fmla="*/ 0 h 825769"/>
                <a:gd name="connsiteX2" fmla="*/ 1377783 w 1377783"/>
                <a:gd name="connsiteY2" fmla="*/ 0 h 825769"/>
                <a:gd name="connsiteX3" fmla="*/ 0 w 1377783"/>
                <a:gd name="connsiteY3" fmla="*/ 825769 h 82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7783" h="825769">
                  <a:moveTo>
                    <a:pt x="0" y="825769"/>
                  </a:moveTo>
                  <a:lnTo>
                    <a:pt x="0" y="0"/>
                  </a:lnTo>
                  <a:lnTo>
                    <a:pt x="1377783" y="0"/>
                  </a:lnTo>
                  <a:lnTo>
                    <a:pt x="0" y="82576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8" name="Полилиния 47"/>
            <p:cNvSpPr/>
            <p:nvPr/>
          </p:nvSpPr>
          <p:spPr>
            <a:xfrm>
              <a:off x="8958349" y="5321914"/>
              <a:ext cx="1577778" cy="1536087"/>
            </a:xfrm>
            <a:custGeom>
              <a:avLst/>
              <a:gdLst>
                <a:gd name="connsiteX0" fmla="*/ 0 w 1577778"/>
                <a:gd name="connsiteY0" fmla="*/ 0 h 1536087"/>
                <a:gd name="connsiteX1" fmla="*/ 1140845 w 1577778"/>
                <a:gd name="connsiteY1" fmla="*/ 238237 h 1536087"/>
                <a:gd name="connsiteX2" fmla="*/ 1140989 w 1577778"/>
                <a:gd name="connsiteY2" fmla="*/ 238268 h 1536087"/>
                <a:gd name="connsiteX3" fmla="*/ 1140990 w 1577778"/>
                <a:gd name="connsiteY3" fmla="*/ 238268 h 1536087"/>
                <a:gd name="connsiteX4" fmla="*/ 1577778 w 1577778"/>
                <a:gd name="connsiteY4" fmla="*/ 1536087 h 1536087"/>
                <a:gd name="connsiteX5" fmla="*/ 1489371 w 1577778"/>
                <a:gd name="connsiteY5" fmla="*/ 1536087 h 1536087"/>
                <a:gd name="connsiteX6" fmla="*/ 468026 w 1577778"/>
                <a:gd name="connsiteY6" fmla="*/ 1536087 h 1536087"/>
                <a:gd name="connsiteX7" fmla="*/ 0 w 1577778"/>
                <a:gd name="connsiteY7" fmla="*/ 0 h 153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7778" h="1536087">
                  <a:moveTo>
                    <a:pt x="0" y="0"/>
                  </a:moveTo>
                  <a:lnTo>
                    <a:pt x="1140845" y="238237"/>
                  </a:lnTo>
                  <a:lnTo>
                    <a:pt x="1140989" y="238268"/>
                  </a:lnTo>
                  <a:lnTo>
                    <a:pt x="1140990" y="238268"/>
                  </a:lnTo>
                  <a:lnTo>
                    <a:pt x="1577778" y="1536087"/>
                  </a:lnTo>
                  <a:lnTo>
                    <a:pt x="1489371" y="1536087"/>
                  </a:lnTo>
                  <a:lnTo>
                    <a:pt x="468026" y="15360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  <p:sp>
          <p:nvSpPr>
            <p:cNvPr id="49" name="Полилиния 48"/>
            <p:cNvSpPr/>
            <p:nvPr/>
          </p:nvSpPr>
          <p:spPr>
            <a:xfrm>
              <a:off x="8059213" y="5320148"/>
              <a:ext cx="1367162" cy="1537853"/>
            </a:xfrm>
            <a:custGeom>
              <a:avLst/>
              <a:gdLst>
                <a:gd name="connsiteX0" fmla="*/ 890680 w 1367162"/>
                <a:gd name="connsiteY0" fmla="*/ 0 h 1537853"/>
                <a:gd name="connsiteX1" fmla="*/ 899136 w 1367162"/>
                <a:gd name="connsiteY1" fmla="*/ 1766 h 1537853"/>
                <a:gd name="connsiteX2" fmla="*/ 1367162 w 1367162"/>
                <a:gd name="connsiteY2" fmla="*/ 1537853 h 1537853"/>
                <a:gd name="connsiteX3" fmla="*/ 0 w 1367162"/>
                <a:gd name="connsiteY3" fmla="*/ 1537853 h 1537853"/>
                <a:gd name="connsiteX4" fmla="*/ 890680 w 1367162"/>
                <a:gd name="connsiteY4" fmla="*/ 0 h 1537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7162" h="1537853">
                  <a:moveTo>
                    <a:pt x="890680" y="0"/>
                  </a:moveTo>
                  <a:lnTo>
                    <a:pt x="899136" y="1766"/>
                  </a:lnTo>
                  <a:lnTo>
                    <a:pt x="1367162" y="1537853"/>
                  </a:lnTo>
                  <a:lnTo>
                    <a:pt x="0" y="1537853"/>
                  </a:lnTo>
                  <a:lnTo>
                    <a:pt x="890680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50646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67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Департамент финансов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43074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7504" y="87476"/>
            <a:ext cx="792088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008000"/>
                </a:solidFill>
                <a:latin typeface="+mj-lt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Rectangle 7"/>
          <p:cNvSpPr/>
          <p:nvPr userDrawn="1"/>
        </p:nvSpPr>
        <p:spPr>
          <a:xfrm>
            <a:off x="107504" y="614034"/>
            <a:ext cx="8928000" cy="13500"/>
          </a:xfrm>
          <a:prstGeom prst="rect">
            <a:avLst/>
          </a:prstGeom>
          <a:gradFill flip="none" rotWithShape="1">
            <a:gsLst>
              <a:gs pos="0">
                <a:srgbClr val="3366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>
              <a:defRPr/>
            </a:pPr>
            <a:endParaRPr lang="en-US" sz="1500" kern="0" dirty="0">
              <a:solidFill>
                <a:srgbClr val="FFFFFF"/>
              </a:solidFill>
              <a:latin typeface="Fedra Sans Pro Book"/>
            </a:endParaRPr>
          </a:p>
        </p:txBody>
      </p:sp>
      <p:pic>
        <p:nvPicPr>
          <p:cNvPr id="6" name="Picture 12" descr="C:\Users\a.kazachkov\Desktop\слайды_Страница_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21380" y="60757"/>
            <a:ext cx="720080" cy="506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5068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650175"/>
            <a:ext cx="9144000" cy="44933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ru-RU" sz="135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0025" y="3"/>
            <a:ext cx="8743950" cy="650174"/>
          </a:xfrm>
        </p:spPr>
        <p:txBody>
          <a:bodyPr>
            <a:noAutofit/>
          </a:bodyPr>
          <a:lstStyle>
            <a:lvl1pPr algn="ctr">
              <a:defRPr sz="2100" b="1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650174"/>
            <a:ext cx="9144000" cy="106215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47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ru-RU" sz="1350" dirty="0"/>
          </a:p>
        </p:txBody>
      </p:sp>
      <p:sp>
        <p:nvSpPr>
          <p:cNvPr id="7" name="Прямоугольник с двумя скругленными соседними углами 6"/>
          <p:cNvSpPr/>
          <p:nvPr/>
        </p:nvSpPr>
        <p:spPr>
          <a:xfrm>
            <a:off x="8634529" y="4791076"/>
            <a:ext cx="309446" cy="3524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76200" dist="508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4289" rIns="0" bIns="34289" rtlCol="0" anchor="ctr"/>
          <a:lstStyle/>
          <a:p>
            <a:pPr algn="ctr"/>
            <a:fld id="{283AB74D-E647-DD4B-A848-4AD4F7BA041E}" type="slidenum">
              <a:rPr lang="ru-RU" sz="900" smtClean="0">
                <a:solidFill>
                  <a:schemeClr val="bg1">
                    <a:lumMod val="65000"/>
                  </a:schemeClr>
                </a:solidFill>
              </a:rPr>
              <a:pPr algn="ctr"/>
              <a:t>‹#›</a:t>
            </a:fld>
            <a:endParaRPr lang="ru-RU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1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67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Департамент финансов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8040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</a:t>
            </a:r>
            <a:r>
              <a:rPr lang="ru-RU" sz="900" baseline="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677465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73846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882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E69D28B1-D38C-4099-962B-61EF5AC5C1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86011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араллелограмм 22"/>
          <p:cNvSpPr>
            <a:spLocks/>
          </p:cNvSpPr>
          <p:nvPr/>
        </p:nvSpPr>
        <p:spPr bwMode="auto">
          <a:xfrm>
            <a:off x="179544" y="-20537"/>
            <a:ext cx="288000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/>
        </p:nvSpPr>
        <p:spPr bwMode="auto">
          <a:xfrm>
            <a:off x="8544670" y="4395401"/>
            <a:ext cx="612000" cy="756083"/>
          </a:xfrm>
          <a:prstGeom prst="parallelogram">
            <a:avLst>
              <a:gd name="adj" fmla="val 82826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5" name="Параллелограмм 14"/>
          <p:cNvSpPr>
            <a:spLocks/>
          </p:cNvSpPr>
          <p:nvPr/>
        </p:nvSpPr>
        <p:spPr bwMode="auto">
          <a:xfrm>
            <a:off x="8388426" y="4731995"/>
            <a:ext cx="450016" cy="419489"/>
          </a:xfrm>
          <a:prstGeom prst="parallelogram">
            <a:avLst>
              <a:gd name="adj" fmla="val 6317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9" name="Параллелограмм 18"/>
          <p:cNvSpPr/>
          <p:nvPr/>
        </p:nvSpPr>
        <p:spPr bwMode="auto">
          <a:xfrm>
            <a:off x="53544" y="33469"/>
            <a:ext cx="252000" cy="351000"/>
          </a:xfrm>
          <a:prstGeom prst="parallelogram">
            <a:avLst>
              <a:gd name="adj" fmla="val 77525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52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3643348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E69D28B1-D38C-4099-962B-61EF5AC5C1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28095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араллелограмм 22"/>
          <p:cNvSpPr>
            <a:spLocks/>
          </p:cNvSpPr>
          <p:nvPr/>
        </p:nvSpPr>
        <p:spPr bwMode="auto">
          <a:xfrm>
            <a:off x="179544" y="-20537"/>
            <a:ext cx="288000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35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/>
        </p:nvSpPr>
        <p:spPr bwMode="auto">
          <a:xfrm>
            <a:off x="8544670" y="4395402"/>
            <a:ext cx="612000" cy="756083"/>
          </a:xfrm>
          <a:prstGeom prst="parallelogram">
            <a:avLst>
              <a:gd name="adj" fmla="val 82826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35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5" name="Параллелограмм 14"/>
          <p:cNvSpPr>
            <a:spLocks/>
          </p:cNvSpPr>
          <p:nvPr/>
        </p:nvSpPr>
        <p:spPr bwMode="auto">
          <a:xfrm>
            <a:off x="8388426" y="4731996"/>
            <a:ext cx="450016" cy="419489"/>
          </a:xfrm>
          <a:prstGeom prst="parallelogram">
            <a:avLst>
              <a:gd name="adj" fmla="val 6317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35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9" name="Параллелограмм 18"/>
          <p:cNvSpPr/>
          <p:nvPr/>
        </p:nvSpPr>
        <p:spPr bwMode="auto">
          <a:xfrm>
            <a:off x="53544" y="33469"/>
            <a:ext cx="252000" cy="351000"/>
          </a:xfrm>
          <a:prstGeom prst="parallelogram">
            <a:avLst>
              <a:gd name="adj" fmla="val 77525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1561" tIns="40780" rIns="81561" bIns="40780" rtlCol="0" anchor="ctr"/>
          <a:lstStyle/>
          <a:p>
            <a:pPr algn="ctr" defTabSz="695035"/>
            <a:endParaRPr lang="ru-RU" sz="1300" kern="0" dirty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9069875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67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Департамент финансов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423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0933541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</a:t>
            </a:r>
            <a:r>
              <a:rPr lang="ru-RU" sz="900" baseline="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13082356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73846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26896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259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</a:t>
            </a:r>
            <a:r>
              <a:rPr lang="ru-RU" sz="900" baseline="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406447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3BDBFD5B-9E57-464B-A081-F96FE499F1E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2181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5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5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5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1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</a:t>
            </a:r>
            <a:r>
              <a:rPr lang="ru-RU" sz="900" baseline="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5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4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5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4871731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3BDBFD5B-9E57-464B-A081-F96FE499F1E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2379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299904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67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Департамент финансов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978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</a:t>
            </a:r>
            <a:r>
              <a:rPr lang="ru-RU" sz="900" baseline="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80642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73846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42560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4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17027076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alphaModFix amt="4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37" r="6363" b="12310"/>
          <a:stretch/>
        </p:blipFill>
        <p:spPr>
          <a:xfrm>
            <a:off x="0" y="3845757"/>
            <a:ext cx="9144000" cy="12977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8" y="273847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732240" y="4894010"/>
            <a:ext cx="2057400" cy="24949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B0710FC0-0F1F-C743-8C50-92AD3CD32188}" type="slidenum">
              <a:rPr lang="en-US" smtClean="0">
                <a:solidFill>
                  <a:srgbClr val="A5A5A5"/>
                </a:solidFill>
              </a:rPr>
              <a:pPr/>
              <a:t>‹#›</a:t>
            </a:fld>
            <a:endParaRPr lang="en-US" dirty="0">
              <a:solidFill>
                <a:srgbClr val="A5A5A5"/>
              </a:solidFill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1115616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2627784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4860033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20296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2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9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834345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2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9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4627" y="349461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Комментарии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53097" y="3819713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Цель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57147" y="415239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421445783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0" y="0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26357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2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162552" tIns="81275" rIns="162552" bIns="81275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pPr defTabSz="914333"/>
            <a:fld id="{734119B5-492C-4D31-8FF1-DB77C0AA6B52}" type="slidenum">
              <a:rPr lang="ru-RU" smtClean="0">
                <a:solidFill>
                  <a:prstClr val="black"/>
                </a:solidFill>
              </a:rPr>
              <a:pPr defTabSz="914333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9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4627" y="349461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162552" tIns="81275" rIns="162552" bIns="81275"/>
          <a:lstStyle>
            <a:lvl1pPr>
              <a:defRPr sz="1425"/>
            </a:lvl1pPr>
          </a:lstStyle>
          <a:p>
            <a:pPr lvl="0"/>
            <a:r>
              <a:rPr lang="ru-RU" dirty="0"/>
              <a:t>Комментарии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53097" y="3819713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162552" tIns="81275" rIns="162552" bIns="81275"/>
          <a:lstStyle>
            <a:lvl1pPr>
              <a:defRPr sz="1425"/>
            </a:lvl1pPr>
          </a:lstStyle>
          <a:p>
            <a:pPr lvl="0"/>
            <a:r>
              <a:rPr lang="ru-RU" dirty="0"/>
              <a:t>Цель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57147" y="415239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162552" tIns="81275" rIns="162552" bIns="81275"/>
          <a:lstStyle>
            <a:lvl1pPr>
              <a:defRPr sz="1425"/>
            </a:lvl1pPr>
          </a:lstStyle>
          <a:p>
            <a:pPr lvl="0"/>
            <a:r>
              <a:rPr lang="ru-RU" dirty="0"/>
              <a:t>Мероприятия</a:t>
            </a:r>
          </a:p>
        </p:txBody>
      </p:sp>
      <p:sp>
        <p:nvSpPr>
          <p:cNvPr id="9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76896" y="51473"/>
            <a:ext cx="7207475" cy="430103"/>
          </a:xfrm>
          <a:prstGeom prst="rect">
            <a:avLst/>
          </a:prstGeom>
          <a:noFill/>
          <a:ln>
            <a:noFill/>
          </a:ln>
        </p:spPr>
        <p:txBody>
          <a:bodyPr lIns="162552" tIns="81275" rIns="162552" bIns="81275"/>
          <a:lstStyle>
            <a:lvl1pPr marL="0" marR="0" indent="0" algn="l" defTabSz="91391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25"/>
            </a:lvl1pPr>
          </a:lstStyle>
          <a:p>
            <a:pPr marL="0" marR="0" lvl="0" indent="0" algn="l" defTabSz="91391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25" dirty="0">
                <a:solidFill>
                  <a:srgbClr val="008000"/>
                </a:solidFill>
              </a:rPr>
              <a:t>Название слайда</a:t>
            </a:r>
            <a:endParaRPr lang="ru-RU" sz="1575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9024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399"/>
            <a:ext cx="745397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5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75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855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01" y="381451"/>
            <a:ext cx="2140009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5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>
                <a:solidFill>
                  <a:srgbClr val="000000"/>
                </a:solidFill>
              </a:rPr>
              <a:t>Last Modified 11.06.2013 11:21 Russian Standard Time</a:t>
            </a:r>
            <a:endParaRPr lang="ru-RU" sz="675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2" y="501721"/>
            <a:ext cx="1899559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5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>
                <a:solidFill>
                  <a:srgbClr val="000000"/>
                </a:solidFill>
              </a:rPr>
              <a:t>Printed 10.06.2013 11:52 Russian Standard Time</a:t>
            </a:r>
            <a:endParaRPr lang="ru-RU" sz="675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6" y="5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8550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50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8550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50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6"/>
              <a:ext cx="3226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5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155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509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509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509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14"/>
            <a:ext cx="1670055" cy="146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599" y="1599187"/>
            <a:ext cx="6259287" cy="380873"/>
          </a:xfrm>
          <a:prstGeom prst="rect">
            <a:avLst/>
          </a:prstGeom>
        </p:spPr>
        <p:txBody>
          <a:bodyPr anchor="ctr" anchorCtr="0"/>
          <a:lstStyle>
            <a:lvl1pPr>
              <a:defRPr sz="2475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9153" y="3663309"/>
            <a:ext cx="9175002" cy="1617553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5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0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0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0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20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341360" y="2441765"/>
            <a:ext cx="4802640" cy="2330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599" y="2773747"/>
            <a:ext cx="5909557" cy="188417"/>
          </a:xfrm>
        </p:spPr>
        <p:txBody>
          <a:bodyPr wrap="square">
            <a:spAutoFit/>
          </a:bodyPr>
          <a:lstStyle>
            <a:lvl1pPr>
              <a:defRPr sz="1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7946652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" y="4703917"/>
            <a:ext cx="594677" cy="437132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0" y="1288913"/>
            <a:ext cx="6331957" cy="942084"/>
          </a:xfrm>
        </p:spPr>
        <p:txBody>
          <a:bodyPr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40363" y="4960927"/>
            <a:ext cx="7926979" cy="117761"/>
          </a:xfrm>
        </p:spPr>
        <p:txBody>
          <a:bodyPr/>
          <a:lstStyle>
            <a:lvl1pPr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40363" y="4782111"/>
            <a:ext cx="7926979" cy="117761"/>
          </a:xfrm>
        </p:spPr>
        <p:txBody>
          <a:bodyPr anchor="b" anchorCtr="0"/>
          <a:lstStyle>
            <a:lvl1pPr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5" y="368379"/>
            <a:ext cx="6916719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79140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4" y="4705732"/>
            <a:ext cx="638310" cy="430702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0" y="1288913"/>
            <a:ext cx="6331957" cy="942084"/>
          </a:xfrm>
        </p:spPr>
        <p:txBody>
          <a:bodyPr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4782111"/>
            <a:ext cx="7926979" cy="117761"/>
          </a:xfrm>
        </p:spPr>
        <p:txBody>
          <a:bodyPr anchor="b" anchorCtr="0"/>
          <a:lstStyle>
            <a:lvl1pPr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4960927"/>
            <a:ext cx="7926979" cy="117761"/>
          </a:xfrm>
        </p:spPr>
        <p:txBody>
          <a:bodyPr/>
          <a:lstStyle>
            <a:lvl1pPr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5" y="368379"/>
            <a:ext cx="6916719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554080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" y="4770425"/>
            <a:ext cx="451939" cy="377036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0" y="1288913"/>
            <a:ext cx="6331957" cy="942084"/>
          </a:xfrm>
        </p:spPr>
        <p:txBody>
          <a:bodyPr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4782111"/>
            <a:ext cx="7926979" cy="117761"/>
          </a:xfrm>
        </p:spPr>
        <p:txBody>
          <a:bodyPr anchor="b" anchorCtr="0"/>
          <a:lstStyle>
            <a:lvl1pPr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4960927"/>
            <a:ext cx="7926979" cy="117761"/>
          </a:xfrm>
        </p:spPr>
        <p:txBody>
          <a:bodyPr/>
          <a:lstStyle>
            <a:lvl1pPr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5" y="368379"/>
            <a:ext cx="6916719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22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67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Департамент финансов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940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0" y="1288913"/>
            <a:ext cx="6331957" cy="942084"/>
          </a:xfrm>
        </p:spPr>
        <p:txBody>
          <a:bodyPr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4960927"/>
            <a:ext cx="8445848" cy="117761"/>
          </a:xfrm>
        </p:spPr>
        <p:txBody>
          <a:bodyPr/>
          <a:lstStyle>
            <a:lvl1pPr>
              <a:defRPr sz="750"/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4782111"/>
            <a:ext cx="8445848" cy="117761"/>
          </a:xfrm>
        </p:spPr>
        <p:txBody>
          <a:bodyPr/>
          <a:lstStyle>
            <a:lvl1pPr>
              <a:defRPr sz="750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5" y="368379"/>
            <a:ext cx="6916719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92594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2014_Обы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65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68529" tIns="34263" rIns="68529" bIns="34263" rtlCol="0" anchor="ctr"/>
          <a:lstStyle/>
          <a:p>
            <a:pPr algn="ctr" defTabSz="583996"/>
            <a:endParaRPr lang="ru-RU" sz="1125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2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68529" tIns="34263" rIns="68529" bIns="34263" rtlCol="0" anchor="ctr"/>
          <a:lstStyle/>
          <a:p>
            <a:pPr algn="ctr" defTabSz="583996"/>
            <a:endParaRPr lang="ru-RU" sz="1125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1"/>
            <a:ext cx="3733800" cy="173088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defTabSz="685509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675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Департамент финансов</a:t>
            </a:r>
            <a:endParaRPr lang="en-US" sz="675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Параллелограмм 12"/>
          <p:cNvSpPr>
            <a:spLocks/>
          </p:cNvSpPr>
          <p:nvPr userDrawn="1"/>
        </p:nvSpPr>
        <p:spPr bwMode="auto">
          <a:xfrm>
            <a:off x="8639421" y="4908602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68529" tIns="34263" rIns="68529" bIns="34263" rtlCol="0" anchor="ctr"/>
          <a:lstStyle/>
          <a:p>
            <a:pPr algn="ctr" defTabSz="583996"/>
            <a:endParaRPr lang="ru-RU" sz="1125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4" name="Параллелограмм 13"/>
          <p:cNvSpPr/>
          <p:nvPr userDrawn="1"/>
        </p:nvSpPr>
        <p:spPr bwMode="auto">
          <a:xfrm>
            <a:off x="8737281" y="484000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68529" tIns="34263" rIns="68529" bIns="34263" rtlCol="0" anchor="ctr"/>
          <a:lstStyle/>
          <a:p>
            <a:pPr algn="ctr" defTabSz="583996"/>
            <a:endParaRPr lang="ru-RU" sz="1125" kern="0" dirty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79388" y="120889"/>
            <a:ext cx="8507412" cy="223745"/>
          </a:xfrm>
          <a:prstGeom prst="rect">
            <a:avLst/>
          </a:prstGeom>
        </p:spPr>
        <p:txBody>
          <a:bodyPr lIns="107943" tIns="0" rIns="0" bIns="0" anchor="ctr"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3020322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creen Shot 2013-12-24 at 12.16.45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6314" y="111320"/>
            <a:ext cx="1866080" cy="598837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0" y="718633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4272489"/>
            <a:ext cx="778042" cy="871015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9" y="425960"/>
            <a:ext cx="5325979" cy="22374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21092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7504" y="228014"/>
            <a:ext cx="7920880" cy="223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606060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Rectangle 7"/>
          <p:cNvSpPr/>
          <p:nvPr userDrawn="1"/>
        </p:nvSpPr>
        <p:spPr>
          <a:xfrm>
            <a:off x="107504" y="614034"/>
            <a:ext cx="8928000" cy="13500"/>
          </a:xfrm>
          <a:prstGeom prst="rect">
            <a:avLst/>
          </a:prstGeom>
          <a:gradFill flip="none" rotWithShape="1">
            <a:gsLst>
              <a:gs pos="0">
                <a:srgbClr val="3366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68529" tIns="34263" rIns="68529" bIns="34263" rtlCol="0" anchor="ctr"/>
          <a:lstStyle/>
          <a:p>
            <a:pPr algn="ctr" defTabSz="583996">
              <a:defRPr/>
            </a:pPr>
            <a:endParaRPr lang="en-US" sz="1125" kern="0" dirty="0">
              <a:solidFill>
                <a:srgbClr val="FFFFFF"/>
              </a:solidFill>
              <a:latin typeface="Fedra Sans Pro Book"/>
            </a:endParaRPr>
          </a:p>
        </p:txBody>
      </p:sp>
      <p:pic>
        <p:nvPicPr>
          <p:cNvPr id="6" name="Picture 12" descr="C:\Users\a.kazachkov\Desktop\слайды_Страница_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21380" y="60755"/>
            <a:ext cx="720080" cy="506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3422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4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4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00" tIns="45699" rIns="91400" bIns="45699" rtlCol="0" anchor="ctr"/>
          <a:lstStyle/>
          <a:p>
            <a:pPr algn="ctr" defTabSz="778879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78342699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alphaModFix amt="4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37" r="6363" b="12310"/>
          <a:stretch/>
        </p:blipFill>
        <p:spPr>
          <a:xfrm>
            <a:off x="0" y="3845757"/>
            <a:ext cx="9144000" cy="12977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8" y="273847"/>
            <a:ext cx="6624736" cy="35369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u="none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732240" y="4894010"/>
            <a:ext cx="2057400" cy="24949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B0710FC0-0F1F-C743-8C50-92AD3CD32188}" type="slidenum">
              <a:rPr lang="en-US" smtClean="0">
                <a:solidFill>
                  <a:srgbClr val="A5A5A5"/>
                </a:solidFill>
              </a:rPr>
              <a:pPr/>
              <a:t>‹#›</a:t>
            </a:fld>
            <a:endParaRPr lang="en-US" dirty="0">
              <a:solidFill>
                <a:srgbClr val="A5A5A5"/>
              </a:solidFill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1115616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2627784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4860033" y="0"/>
            <a:ext cx="12241360" cy="5143500"/>
          </a:xfrm>
          <a:prstGeom prst="parallelogram">
            <a:avLst>
              <a:gd name="adj" fmla="val 50410"/>
            </a:avLst>
          </a:prstGeom>
          <a:solidFill>
            <a:srgbClr val="92D05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0069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2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9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4627" y="349461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Комментарии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53097" y="3819713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Цель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57147" y="415239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/>
          <a:lstStyle>
            <a:lvl1pPr>
              <a:defRPr sz="1400"/>
            </a:lvl1pPr>
          </a:lstStyle>
          <a:p>
            <a:pPr lvl="0"/>
            <a:r>
              <a:rPr lang="ru-RU" dirty="0"/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194824752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0" y="0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734119B5-492C-4D31-8FF1-DB77C0AA6B52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3679257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Zakharchenko-YS\Desktop\image1.jpe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44"/>
          <a:stretch/>
        </p:blipFill>
        <p:spPr bwMode="auto">
          <a:xfrm flipH="1">
            <a:off x="2" y="1"/>
            <a:ext cx="676893" cy="99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46912" y="4869657"/>
            <a:ext cx="2133600" cy="273844"/>
          </a:xfrm>
          <a:prstGeom prst="rect">
            <a:avLst/>
          </a:prstGeom>
        </p:spPr>
        <p:txBody>
          <a:bodyPr vert="horz" lIns="162552" tIns="81275" rIns="162552" bIns="81275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pPr defTabSz="914333"/>
            <a:fld id="{734119B5-492C-4D31-8FF1-DB77C0AA6B52}" type="slidenum">
              <a:rPr lang="ru-RU" smtClean="0">
                <a:solidFill>
                  <a:prstClr val="black"/>
                </a:solidFill>
              </a:rPr>
              <a:pPr defTabSz="914333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9" y="123480"/>
            <a:ext cx="1159240" cy="28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4627" y="349461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162552" tIns="81275" rIns="162552" bIns="81275"/>
          <a:lstStyle>
            <a:lvl1pPr>
              <a:defRPr sz="1425"/>
            </a:lvl1pPr>
          </a:lstStyle>
          <a:p>
            <a:pPr lvl="0"/>
            <a:r>
              <a:rPr lang="ru-RU" dirty="0"/>
              <a:t>Комментарии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53097" y="3819713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162552" tIns="81275" rIns="162552" bIns="81275"/>
          <a:lstStyle>
            <a:lvl1pPr>
              <a:defRPr sz="1425"/>
            </a:lvl1pPr>
          </a:lstStyle>
          <a:p>
            <a:pPr lvl="0"/>
            <a:r>
              <a:rPr lang="ru-RU" dirty="0"/>
              <a:t>Цель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57147" y="4152395"/>
            <a:ext cx="8936104" cy="295095"/>
          </a:xfrm>
          <a:prstGeom prst="rect">
            <a:avLst/>
          </a:prstGeom>
          <a:noFill/>
          <a:ln>
            <a:noFill/>
          </a:ln>
        </p:spPr>
        <p:txBody>
          <a:bodyPr lIns="162552" tIns="81275" rIns="162552" bIns="81275"/>
          <a:lstStyle>
            <a:lvl1pPr>
              <a:defRPr sz="1425"/>
            </a:lvl1pPr>
          </a:lstStyle>
          <a:p>
            <a:pPr lvl="0"/>
            <a:r>
              <a:rPr lang="ru-RU" dirty="0"/>
              <a:t>Мероприятия</a:t>
            </a:r>
          </a:p>
        </p:txBody>
      </p:sp>
      <p:sp>
        <p:nvSpPr>
          <p:cNvPr id="9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76896" y="51473"/>
            <a:ext cx="7207475" cy="430103"/>
          </a:xfrm>
          <a:prstGeom prst="rect">
            <a:avLst/>
          </a:prstGeom>
          <a:noFill/>
          <a:ln>
            <a:noFill/>
          </a:ln>
        </p:spPr>
        <p:txBody>
          <a:bodyPr lIns="162552" tIns="81275" rIns="162552" bIns="81275"/>
          <a:lstStyle>
            <a:lvl1pPr marL="0" marR="0" indent="0" algn="l" defTabSz="91391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25"/>
            </a:lvl1pPr>
          </a:lstStyle>
          <a:p>
            <a:pPr marL="0" marR="0" lvl="0" indent="0" algn="l" defTabSz="91391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25" dirty="0">
                <a:solidFill>
                  <a:srgbClr val="008000"/>
                </a:solidFill>
              </a:rPr>
              <a:t>Название слайда</a:t>
            </a:r>
            <a:endParaRPr lang="ru-RU" sz="1575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8566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7504" y="87476"/>
            <a:ext cx="792088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008000"/>
                </a:solidFill>
                <a:latin typeface="+mj-lt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Rectangle 7"/>
          <p:cNvSpPr/>
          <p:nvPr userDrawn="1"/>
        </p:nvSpPr>
        <p:spPr>
          <a:xfrm>
            <a:off x="107504" y="614034"/>
            <a:ext cx="8928000" cy="13500"/>
          </a:xfrm>
          <a:prstGeom prst="rect">
            <a:avLst/>
          </a:prstGeom>
          <a:gradFill flip="none" rotWithShape="1">
            <a:gsLst>
              <a:gs pos="0">
                <a:srgbClr val="3366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>
              <a:defRPr/>
            </a:pPr>
            <a:endParaRPr lang="en-US" sz="1500" kern="0" dirty="0">
              <a:solidFill>
                <a:srgbClr val="FFFFFF"/>
              </a:solidFill>
              <a:latin typeface="Fedra Sans Pro Book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123478"/>
            <a:ext cx="1266133" cy="366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5599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258" y="-14286"/>
            <a:ext cx="7269163" cy="54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араллелограмм 18"/>
          <p:cNvSpPr/>
          <p:nvPr userDrawn="1"/>
        </p:nvSpPr>
        <p:spPr bwMode="auto">
          <a:xfrm>
            <a:off x="6852651" y="10860"/>
            <a:ext cx="320120" cy="454656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23" name="Параллелограмм 22"/>
          <p:cNvSpPr>
            <a:spLocks/>
          </p:cNvSpPr>
          <p:nvPr userDrawn="1"/>
        </p:nvSpPr>
        <p:spPr bwMode="auto">
          <a:xfrm>
            <a:off x="7010226" y="33173"/>
            <a:ext cx="289074" cy="275400"/>
          </a:xfrm>
          <a:prstGeom prst="parallelogram">
            <a:avLst>
              <a:gd name="adj" fmla="val 5328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 userDrawn="1"/>
        </p:nvSpPr>
        <p:spPr bwMode="auto">
          <a:xfrm>
            <a:off x="-55562" y="5002020"/>
            <a:ext cx="3733800" cy="2308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Calibri" pitchFamily="34" charset="0"/>
              </a:rPr>
              <a:t>© Служба финансового директора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араллелограмм 7"/>
          <p:cNvSpPr>
            <a:spLocks/>
          </p:cNvSpPr>
          <p:nvPr userDrawn="1"/>
        </p:nvSpPr>
        <p:spPr bwMode="auto">
          <a:xfrm>
            <a:off x="8639421" y="4908598"/>
            <a:ext cx="262800" cy="244410"/>
          </a:xfrm>
          <a:prstGeom prst="parallelogram">
            <a:avLst>
              <a:gd name="adj" fmla="val 55062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737295" y="4875963"/>
            <a:ext cx="231465" cy="274922"/>
          </a:xfrm>
          <a:prstGeom prst="parallelogram">
            <a:avLst>
              <a:gd name="adj" fmla="val 707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38100" dist="38100" dir="2700000" sx="87000" sy="87000" algn="tl" rotWithShape="0">
              <a:prstClr val="black">
                <a:alpha val="45000"/>
              </a:prstClr>
            </a:outerShdw>
          </a:effectLst>
        </p:spPr>
        <p:txBody>
          <a:bodyPr lIns="91420" tIns="45709" rIns="91420" bIns="45709" rtlCol="0" anchor="ctr"/>
          <a:lstStyle/>
          <a:p>
            <a:pPr algn="ctr" defTabSz="779074"/>
            <a:endParaRPr lang="ru-RU" sz="1500" kern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2344963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7504" y="87476"/>
            <a:ext cx="792088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008000"/>
                </a:solidFill>
                <a:latin typeface="+mj-lt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Rectangle 7"/>
          <p:cNvSpPr/>
          <p:nvPr userDrawn="1"/>
        </p:nvSpPr>
        <p:spPr>
          <a:xfrm>
            <a:off x="107504" y="614034"/>
            <a:ext cx="8928000" cy="13500"/>
          </a:xfrm>
          <a:prstGeom prst="rect">
            <a:avLst/>
          </a:prstGeom>
          <a:gradFill flip="none" rotWithShape="1">
            <a:gsLst>
              <a:gs pos="0">
                <a:srgbClr val="3366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>
              <a:defRPr/>
            </a:pPr>
            <a:endParaRPr lang="en-US" sz="1500" kern="0" dirty="0">
              <a:solidFill>
                <a:srgbClr val="FFFFFF"/>
              </a:solidFill>
              <a:latin typeface="Fedra Sans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17807658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7504" y="87476"/>
            <a:ext cx="792088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008000"/>
                </a:solidFill>
                <a:latin typeface="+mj-lt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Rectangle 7"/>
          <p:cNvSpPr/>
          <p:nvPr userDrawn="1"/>
        </p:nvSpPr>
        <p:spPr>
          <a:xfrm>
            <a:off x="107504" y="614034"/>
            <a:ext cx="8928000" cy="13500"/>
          </a:xfrm>
          <a:prstGeom prst="rect">
            <a:avLst/>
          </a:prstGeom>
          <a:gradFill flip="none" rotWithShape="1">
            <a:gsLst>
              <a:gs pos="0">
                <a:srgbClr val="3366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20" tIns="45709" rIns="91420" bIns="45709" rtlCol="0" anchor="ctr"/>
          <a:lstStyle/>
          <a:p>
            <a:pPr algn="ctr" defTabSz="779074">
              <a:defRPr/>
            </a:pPr>
            <a:endParaRPr lang="en-US" sz="1500" kern="0" dirty="0">
              <a:solidFill>
                <a:srgbClr val="FFFFFF"/>
              </a:solidFill>
              <a:latin typeface="Fedra Sans Pro Book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123478"/>
            <a:ext cx="1266133" cy="366173"/>
          </a:xfrm>
          <a:prstGeom prst="rect">
            <a:avLst/>
          </a:prstGeom>
        </p:spPr>
      </p:pic>
      <p:pic>
        <p:nvPicPr>
          <p:cNvPr id="2" name="Рисунок 1" descr="http://3120DA007754567E20B2F0FF2A9A2C0C.dms.sberbank.ru/3120DA007754567E20B2F0FF2A9A2C0C-71C76D7B62D13D68A726B5DBEA400B67-E9657BA7E0C36E1C2E0F5758975B58AF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" name="Рисунок 2" descr="http://3120DA007754567E20B2F0FF2A9A2C0C.dms.sberbank.ru/3120DA007754567E20B2F0FF2A9A2C0C-71C76D7B62D13D68A726B5DBEA400B67-E9657BA7E0C36E1C2E0F5758975B58AF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" name="Рисунок 5" descr="http://3120DA007754567E20B2F0FF2A9A2C0C.dms.sberbank.ru/3120DA007754567E20B2F0FF2A9A2C0C-71C76D7B62D13D68A726B5DBEA400B67-E9657BA7E0C36E1C2E0F5758975B58AF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" name="Рисунок 6" descr="http://3120DA007754567E20B2F0FF2A9A2C0C.dms.sberbank.ru/3120DA007754567E20B2F0FF2A9A2C0C-71C76D7B62D13D68A726B5DBEA400B67-E9657BA7E0C36E1C2E0F5758975B58AF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8" name="Рисунок 7" descr="http://3120DA007754567E20B2F0FF2A9A2C0C.dms.sberbank.ru/3120DA007754567E20B2F0FF2A9A2C0C-71C76D7B62D13D68A726B5DBEA400B67-E9657BA7E0C36E1C2E0F5758975B58AF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9" name="Рисунок 8" descr="http://3120DA007754567E20B2F0FF2A9A2C0C.dms.sberbank.ru/3120DA007754567E20B2F0FF2A9A2C0C-71C76D7B62D13D68A726B5DBEA400B67-E9657BA7E0C36E1C2E0F5758975B58AF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0" name="Рисунок 9" descr="http://3120DA007754567E20B2F0FF2A9A2C0C.dms.sberbank.ru/3120DA007754567E20B2F0FF2A9A2C0C-71C76D7B62D13D68A726B5DBEA400B67-E9657BA7E0C36E1C2E0F5758975B58AF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1" name="Рисунок 10" descr="http://3120DA007754567E20B2F0FF2A9A2C0C.dms.sberbank.ru/3120DA007754567E20B2F0FF2A9A2C0C-71C76D7B62D13D68A726B5DBEA400B67-E9657BA7E0C36E1C2E0F5758975B58AF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86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tags" Target="../tags/tag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tags" Target="../tags/tag16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tags" Target="../tags/tag17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oleObject" Target="../embeddings/oleObject19.bin"/><Relationship Id="rId5" Type="http://schemas.openxmlformats.org/officeDocument/2006/relationships/tags" Target="../tags/tag19.xml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20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tags" Target="../tags/tag21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slideLayout" Target="../slideLayouts/slideLayout44.xml"/><Relationship Id="rId7" Type="http://schemas.openxmlformats.org/officeDocument/2006/relationships/tags" Target="../tags/tag22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23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1.emf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tags" Target="../tags/tag23.xml"/><Relationship Id="rId1" Type="http://schemas.openxmlformats.org/officeDocument/2006/relationships/theme" Target="../theme/theme24.xml"/><Relationship Id="rId4" Type="http://schemas.openxmlformats.org/officeDocument/2006/relationships/image" Target="../media/image1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slideLayout" Target="../slideLayouts/slideLayout49.xml"/><Relationship Id="rId7" Type="http://schemas.openxmlformats.org/officeDocument/2006/relationships/tags" Target="../tags/tag24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25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1.emf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oleObject" Target="../embeddings/oleObject25.bin"/><Relationship Id="rId5" Type="http://schemas.openxmlformats.org/officeDocument/2006/relationships/tags" Target="../tags/tag25.xml"/><Relationship Id="rId4" Type="http://schemas.openxmlformats.org/officeDocument/2006/relationships/theme" Target="../theme/theme26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theme" Target="../theme/theme2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tags" Target="../tags/tag26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theme" Target="../theme/theme2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tags" Target="../tags/tag27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1.xml"/><Relationship Id="rId7" Type="http://schemas.openxmlformats.org/officeDocument/2006/relationships/oleObject" Target="../embeddings/oleObject28.bin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ags" Target="../tags/tag28.xml"/><Relationship Id="rId5" Type="http://schemas.openxmlformats.org/officeDocument/2006/relationships/theme" Target="../theme/theme29.xml"/><Relationship Id="rId4" Type="http://schemas.openxmlformats.org/officeDocument/2006/relationships/slideLayout" Target="../slideLayouts/slideLayout6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3.bin"/><Relationship Id="rId5" Type="http://schemas.openxmlformats.org/officeDocument/2006/relationships/tags" Target="../tags/tag3.xml"/><Relationship Id="rId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theme" Target="../theme/theme30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tags" Target="../tags/tag29.xml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oleObject" Target="../embeddings/oleObject30.bin"/><Relationship Id="rId5" Type="http://schemas.openxmlformats.org/officeDocument/2006/relationships/tags" Target="../tags/tag30.xml"/><Relationship Id="rId4" Type="http://schemas.openxmlformats.org/officeDocument/2006/relationships/theme" Target="../theme/theme31.xml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theme" Target="../theme/theme32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tags" Target="../tags/tag31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33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3.xml"/><Relationship Id="rId9" Type="http://schemas.openxmlformats.org/officeDocument/2006/relationships/oleObject" Target="../embeddings/oleObject32.bin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tags" Target="../tags/tag36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ags" Target="../tags/tag35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ags" Target="../tags/tag34.xml"/><Relationship Id="rId5" Type="http://schemas.openxmlformats.org/officeDocument/2006/relationships/slideLayout" Target="../slideLayouts/slideLayout80.xml"/><Relationship Id="rId15" Type="http://schemas.openxmlformats.org/officeDocument/2006/relationships/image" Target="../media/image8.png"/><Relationship Id="rId10" Type="http://schemas.openxmlformats.org/officeDocument/2006/relationships/tags" Target="../tags/tag33.xml"/><Relationship Id="rId4" Type="http://schemas.openxmlformats.org/officeDocument/2006/relationships/slideLayout" Target="../slideLayouts/slideLayout79.xml"/><Relationship Id="rId9" Type="http://schemas.openxmlformats.org/officeDocument/2006/relationships/theme" Target="../theme/theme34.xml"/><Relationship Id="rId14" Type="http://schemas.openxmlformats.org/officeDocument/2006/relationships/tags" Target="../tags/tag37.xml"/></Relationships>
</file>

<file path=ppt/slideMasters/_rels/slideMaster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tags" Target="../tags/tag42.xml"/><Relationship Id="rId1" Type="http://schemas.openxmlformats.org/officeDocument/2006/relationships/theme" Target="../theme/theme3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slideLayout" Target="../slideLayouts/slideLayout86.xml"/><Relationship Id="rId7" Type="http://schemas.openxmlformats.org/officeDocument/2006/relationships/tags" Target="../tags/tag43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theme" Target="../theme/theme36.xml"/><Relationship Id="rId5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7.xml"/><Relationship Id="rId9" Type="http://schemas.openxmlformats.org/officeDocument/2006/relationships/image" Target="../media/image1.emf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tags" Target="../tags/tag44.xml"/><Relationship Id="rId1" Type="http://schemas.openxmlformats.org/officeDocument/2006/relationships/theme" Target="../theme/theme37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heme" Target="../theme/theme38.xml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Masters/_rels/slideMaster3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heme" Target="../theme/theme39.xml"/><Relationship Id="rId1" Type="http://schemas.openxmlformats.org/officeDocument/2006/relationships/slideLayout" Target="../slideLayouts/slideLayout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oleObject" Target="../embeddings/oleObject4.bin"/><Relationship Id="rId5" Type="http://schemas.openxmlformats.org/officeDocument/2006/relationships/tags" Target="../tags/tag4.xml"/><Relationship Id="rId4" Type="http://schemas.openxmlformats.org/officeDocument/2006/relationships/theme" Target="../theme/theme4.xml"/></Relationships>
</file>

<file path=ppt/slideMasters/_rels/slideMaster4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heme" Target="../theme/theme40.xml"/><Relationship Id="rId1" Type="http://schemas.openxmlformats.org/officeDocument/2006/relationships/slideLayout" Target="../slideLayouts/slideLayout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theme" Target="../theme/theme6.xml"/><Relationship Id="rId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95168473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0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678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3" r:id="rId1"/>
    <p:sldLayoutId id="2147485568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85181962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033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1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239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3" r:id="rId1"/>
    <p:sldLayoutId id="2147485554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4261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0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4181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3" r:id="rId1"/>
    <p:sldLayoutId id="2147485564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71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7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5508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0" r:id="rId1"/>
    <p:sldLayoutId id="2147485571" r:id="rId2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1650" b="0" i="0" kern="1200" cap="none" baseline="0" dirty="0" smtClean="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/>
        <a:buNone/>
        <a:defRPr sz="21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2pPr>
      <a:lvl3pPr marL="6858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5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35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35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pos="7242">
          <p15:clr>
            <a:srgbClr val="F26B43"/>
          </p15:clr>
        </p15:guide>
        <p15:guide id="3" orient="horz" pos="436">
          <p15:clr>
            <a:srgbClr val="F26B43"/>
          </p15:clr>
        </p15:guide>
        <p15:guide id="4" orient="horz" pos="3884">
          <p15:clr>
            <a:srgbClr val="F26B43"/>
          </p15:clr>
        </p15:guide>
        <p15:guide id="17" orient="horz" pos="799">
          <p15:clr>
            <a:srgbClr val="F26B43"/>
          </p15:clr>
        </p15:guide>
        <p15:guide id="18" pos="37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0146746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739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5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02164718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1156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9" r:id="rId1"/>
    <p:sldLayoutId id="2147485580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22871571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9738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83" r:id="rId1"/>
    <p:sldLayoutId id="2147485584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5346854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390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87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82585792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652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5" r:id="rId1"/>
    <p:sldLayoutId id="2147485496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37501975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287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96" r:id="rId1"/>
    <p:sldLayoutId id="2147485598" r:id="rId2"/>
    <p:sldLayoutId id="2147485599" r:id="rId3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03670323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8" imgW="360" imgH="360" progId="">
                  <p:embed/>
                </p:oleObj>
              </mc:Choice>
              <mc:Fallback>
                <p:oleObj name="Слайд think-cell" r:id="rId8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47" y="4894298"/>
            <a:ext cx="341677" cy="246181"/>
          </a:xfrm>
          <a:prstGeom prst="rect">
            <a:avLst/>
          </a:prstGeom>
        </p:spPr>
        <p:txBody>
          <a:bodyPr wrap="none" lIns="91379" tIns="45690" rIns="91379" bIns="45690">
            <a:spAutoFit/>
          </a:bodyPr>
          <a:lstStyle/>
          <a:p>
            <a:pPr defTabSz="914175"/>
            <a:fld id="{B100055D-BE97-4116-91F5-ADFE5EDBD620}" type="slidenum">
              <a:rPr lang="ru-RU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14175"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240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4" r:id="rId1"/>
    <p:sldLayoutId id="2147485615" r:id="rId2"/>
    <p:sldLayoutId id="2147485617" r:id="rId3"/>
    <p:sldLayoutId id="2147485619" r:id="rId4"/>
    <p:sldLayoutId id="2147485623" r:id="rId5"/>
  </p:sldLayoutIdLst>
  <p:hf sldNum="0" hdr="0" ftr="0" dt="0"/>
  <p:txStyles>
    <p:titleStyle>
      <a:lvl1pPr algn="l" defTabSz="913761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37" indent="-228437" algn="l" defTabSz="9137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19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198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076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959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835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716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593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471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72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1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4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21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97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7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152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3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49428068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941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26" r:id="rId1"/>
    <p:sldLayoutId id="2147485627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8" imgW="360" imgH="360" progId="">
                  <p:embed/>
                </p:oleObj>
              </mc:Choice>
              <mc:Fallback>
                <p:oleObj name="Слайд think-cell" r:id="rId8" imgW="360" imgH="360" progId="">
                  <p:embed/>
                  <p:pic>
                    <p:nvPicPr>
                      <p:cNvPr id="0" name="Picture 3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47" y="4894298"/>
            <a:ext cx="341677" cy="246181"/>
          </a:xfrm>
          <a:prstGeom prst="rect">
            <a:avLst/>
          </a:prstGeom>
        </p:spPr>
        <p:txBody>
          <a:bodyPr wrap="none" lIns="91379" tIns="45690" rIns="91379" bIns="45690">
            <a:spAutoFit/>
          </a:bodyPr>
          <a:lstStyle/>
          <a:p>
            <a:fld id="{B100055D-BE97-4116-91F5-ADFE5EDBD620}" type="slidenum">
              <a:rPr lang="ru-RU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397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29" r:id="rId1"/>
    <p:sldLayoutId id="2147485630" r:id="rId2"/>
    <p:sldLayoutId id="2147485632" r:id="rId3"/>
    <p:sldLayoutId id="2147485634" r:id="rId4"/>
    <p:sldLayoutId id="2147485638" r:id="rId5"/>
  </p:sldLayoutIdLst>
  <p:hf sldNum="0" hdr="0" ftr="0" dt="0"/>
  <p:txStyles>
    <p:titleStyle>
      <a:lvl1pPr algn="l" defTabSz="913761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37" indent="-228437" algn="l" defTabSz="9137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19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198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076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959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835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716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593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471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72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1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4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21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97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7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152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3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7627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419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69" r:id="rId1"/>
    <p:sldLayoutId id="2147485670" r:id="rId2"/>
    <p:sldLayoutId id="2147485671" r:id="rId3"/>
    <p:sldLayoutId id="2147485673" r:id="rId4"/>
    <p:sldLayoutId id="2147485674" r:id="rId5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3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587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5" r:id="rId1"/>
    <p:sldLayoutId id="2147485697" r:id="rId2"/>
    <p:sldLayoutId id="2147485698" r:id="rId3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8512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2" r:id="rId1"/>
    <p:sldLayoutId id="2147485713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8" y="4894289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7083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4" r:id="rId1"/>
    <p:sldLayoutId id="2147485775" r:id="rId2"/>
  </p:sldLayoutIdLst>
  <p:hf sldNum="0" hdr="0" ftr="0" dt="0"/>
  <p:txStyles>
    <p:titleStyle>
      <a:lvl1pPr algn="l" defTabSz="913964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1" indent="-228491" algn="l" defTabSz="91396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72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55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36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18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02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382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362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344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0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64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46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26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10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91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72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53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0" name="Picture 2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826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57" r:id="rId1"/>
    <p:sldLayoutId id="2147485859" r:id="rId2"/>
    <p:sldLayoutId id="2147485860" r:id="rId3"/>
    <p:sldLayoutId id="2147485861" r:id="rId4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53959954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07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2" r:id="rId1"/>
    <p:sldLayoutId id="2147485514" r:id="rId2"/>
    <p:sldLayoutId id="2147485515" r:id="rId3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6529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94" r:id="rId1"/>
    <p:sldLayoutId id="2147485895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8" y="4894289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1836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7" r:id="rId1"/>
    <p:sldLayoutId id="2147485918" r:id="rId2"/>
    <p:sldLayoutId id="2147485919" r:id="rId3"/>
  </p:sldLayoutIdLst>
  <p:hf sldNum="0" hdr="0" ftr="0" dt="0"/>
  <p:txStyles>
    <p:titleStyle>
      <a:lvl1pPr algn="l" defTabSz="913964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1" indent="-228491" algn="l" defTabSz="91396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72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55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36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18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02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382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362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344" indent="-228491" algn="l" defTabSz="9139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0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64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46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26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10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91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72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53" algn="l" defTabSz="9139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466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0" r:id="rId1"/>
    <p:sldLayoutId id="2147485932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360" imgH="360" progId="">
                  <p:embed/>
                </p:oleObj>
              </mc:Choice>
              <mc:Fallback>
                <p:oleObj name="Слайд think-cell" r:id="rId9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47" y="4894298"/>
            <a:ext cx="341677" cy="246181"/>
          </a:xfrm>
          <a:prstGeom prst="rect">
            <a:avLst/>
          </a:prstGeom>
        </p:spPr>
        <p:txBody>
          <a:bodyPr wrap="none" lIns="91379" tIns="45690" rIns="91379" bIns="45690">
            <a:spAutoFit/>
          </a:bodyPr>
          <a:lstStyle/>
          <a:p>
            <a:fld id="{B100055D-BE97-4116-91F5-ADFE5EDBD620}" type="slidenum">
              <a:rPr lang="ru-RU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6367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4" r:id="rId1"/>
    <p:sldLayoutId id="2147485945" r:id="rId2"/>
    <p:sldLayoutId id="2147485947" r:id="rId3"/>
    <p:sldLayoutId id="2147485948" r:id="rId4"/>
    <p:sldLayoutId id="2147485952" r:id="rId5"/>
    <p:sldLayoutId id="2147485953" r:id="rId6"/>
  </p:sldLayoutIdLst>
  <p:hf sldNum="0" hdr="0" ftr="0" dt="0"/>
  <p:txStyles>
    <p:titleStyle>
      <a:lvl1pPr algn="l" defTabSz="913761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37" indent="-228437" algn="l" defTabSz="9137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19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198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076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959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835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716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593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471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72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1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4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21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97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7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152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3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82160" y="1493000"/>
            <a:ext cx="4389768" cy="942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21495" y="368379"/>
            <a:ext cx="6916719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8" y="20653"/>
            <a:ext cx="64440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85509"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94" y="645327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82160" y="863731"/>
            <a:ext cx="4350892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85509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000000"/>
                  </a:solidFill>
                </a:rPr>
                <a:t>Title</a:t>
              </a:r>
            </a:p>
            <a:p>
              <a:pPr defTabSz="685509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93" y="4986347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68550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750" smtClean="0">
                <a:solidFill>
                  <a:srgbClr val="000000"/>
                </a:solidFill>
              </a:rPr>
              <a:pPr algn="ctr" defTabSz="68550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50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2638" y="127048"/>
            <a:ext cx="1985020" cy="477911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95" y="626403"/>
            <a:ext cx="8886445" cy="34986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35" tIns="34967" rIns="69935" bIns="34967" rtlCol="0" anchor="ctr"/>
          <a:lstStyle/>
          <a:p>
            <a:pPr algn="ctr" defTabSz="685509" fontAlgn="base">
              <a:spcBef>
                <a:spcPct val="0"/>
              </a:spcBef>
              <a:spcAft>
                <a:spcPct val="0"/>
              </a:spcAft>
            </a:pPr>
            <a:endParaRPr lang="ru-RU" sz="1200" dirty="0" err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589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3" r:id="rId1"/>
    <p:sldLayoutId id="2147486094" r:id="rId2"/>
    <p:sldLayoutId id="2147486095" r:id="rId3"/>
    <p:sldLayoutId id="2147486096" r:id="rId4"/>
    <p:sldLayoutId id="2147486097" r:id="rId5"/>
    <p:sldLayoutId id="2147486098" r:id="rId6"/>
    <p:sldLayoutId id="2147486099" r:id="rId7"/>
    <p:sldLayoutId id="2147486100" r:id="rId8"/>
  </p:sldLayoutIdLst>
  <p:hf sldNum="0" hdr="0" ftr="0" dt="0"/>
  <p:txStyles>
    <p:titleStyle>
      <a:lvl1pPr algn="l" defTabSz="684781" rtl="0" eaLnBrk="1" fontAlgn="base" hangingPunct="1">
        <a:spcBef>
          <a:spcPct val="0"/>
        </a:spcBef>
        <a:spcAft>
          <a:spcPct val="0"/>
        </a:spcAft>
        <a:tabLst>
          <a:tab pos="273185" algn="l"/>
        </a:tabLst>
        <a:defRPr sz="1425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684781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4781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4781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4781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673" algn="l" defTabSz="684781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350" algn="l" defTabSz="684781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027" algn="l" defTabSz="684781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8702" algn="l" defTabSz="684781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78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8127" indent="-146913" algn="l" defTabSz="68478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9673" indent="-200336" algn="l" defTabSz="68478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9877" indent="-118988" algn="l" defTabSz="68478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73467" indent="-99560" algn="l" defTabSz="68478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573467" indent="-99560" algn="l" defTabSz="6847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6pPr>
      <a:lvl7pPr marL="573467" indent="-99560" algn="l" defTabSz="6847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7pPr>
      <a:lvl8pPr marL="573467" indent="-99560" algn="l" defTabSz="6847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8pPr>
      <a:lvl9pPr marL="573467" indent="-99560" algn="l" defTabSz="6847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35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673" algn="l" defTabSz="69935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350" algn="l" defTabSz="69935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027" algn="l" defTabSz="69935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8702" algn="l" defTabSz="69935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8378" algn="l" defTabSz="69935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8052" algn="l" defTabSz="69935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7728" algn="l" defTabSz="69935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7405" algn="l" defTabSz="69935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136" imgH="136" progId="TCLayout.ActiveDocument.1">
                  <p:embed/>
                </p:oleObj>
              </mc:Choice>
              <mc:Fallback>
                <p:oleObj name="Слайд think-cell" r:id="rId3" imgW="136" imgH="136" progId="TCLayout.ActiveDocument.1">
                  <p:embed/>
                  <p:pic>
                    <p:nvPicPr>
                      <p:cNvPr id="22" name="Объект 2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C:\Users\a.kazachkov\Desktop\слайды_Страница_1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21380" y="60757"/>
            <a:ext cx="720080" cy="506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6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CDE6420-5EBB-492D-902D-FF13E2004B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741919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8" imgW="136" imgH="136" progId="TCLayout.ActiveDocument.1">
                  <p:embed/>
                </p:oleObj>
              </mc:Choice>
              <mc:Fallback>
                <p:oleObj name="Слайд think-cell" r:id="rId8" imgW="136" imgH="136" progId="TCLayout.ActiveDocument.1">
                  <p:embed/>
                  <p:pic>
                    <p:nvPicPr>
                      <p:cNvPr id="22" name="Объект 2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47" y="4894298"/>
            <a:ext cx="341677" cy="246181"/>
          </a:xfrm>
          <a:prstGeom prst="rect">
            <a:avLst/>
          </a:prstGeom>
        </p:spPr>
        <p:txBody>
          <a:bodyPr wrap="none" lIns="91379" tIns="45690" rIns="91379" bIns="45690">
            <a:spAutoFit/>
          </a:bodyPr>
          <a:lstStyle/>
          <a:p>
            <a:fld id="{B100055D-BE97-4116-91F5-ADFE5EDBD620}" type="slidenum">
              <a:rPr lang="ru-RU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46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5" r:id="rId1"/>
    <p:sldLayoutId id="2147486106" r:id="rId2"/>
    <p:sldLayoutId id="2147486108" r:id="rId3"/>
    <p:sldLayoutId id="2147486112" r:id="rId4"/>
    <p:sldLayoutId id="2147486113" r:id="rId5"/>
  </p:sldLayoutIdLst>
  <p:hf sldNum="0" hdr="0" ftr="0" dt="0"/>
  <p:txStyles>
    <p:titleStyle>
      <a:lvl1pPr algn="l" defTabSz="913761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37" indent="-228437" algn="l" defTabSz="9137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19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198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076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959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835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716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593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471" indent="-228437" algn="l" defTabSz="9137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72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1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4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21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97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7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152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30" algn="l" defTabSz="9137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136" imgH="136" progId="TCLayout.ActiveDocument.1">
                  <p:embed/>
                </p:oleObj>
              </mc:Choice>
              <mc:Fallback>
                <p:oleObj name="Слайд think-cell" r:id="rId3" imgW="136" imgH="136" progId="TCLayout.ActiveDocument.1">
                  <p:embed/>
                  <p:pic>
                    <p:nvPicPr>
                      <p:cNvPr id="22" name="Объект 2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6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CDE6420-5EBB-492D-902D-FF13E2004B7D}" type="slidenum">
              <a:rPr lang="ru-RU" smtClean="0"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123478"/>
            <a:ext cx="1266133" cy="366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26673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6" imgH="136" progId="TCLayout.ActiveDocument.1">
                  <p:embed/>
                </p:oleObj>
              </mc:Choice>
              <mc:Fallback>
                <p:oleObj name="think-cell Slide" r:id="rId4" imgW="136" imgH="136" progId="TCLayout.ActiveDocument.1">
                  <p:embed/>
                  <p:pic>
                    <p:nvPicPr>
                      <p:cNvPr id="22" name="Объект 2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583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42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6" imgH="136" progId="TCLayout.ActiveDocument.1">
                  <p:embed/>
                </p:oleObj>
              </mc:Choice>
              <mc:Fallback>
                <p:oleObj name="think-cell Slide" r:id="rId4" imgW="136" imgH="136" progId="TCLayout.ActiveDocument.1">
                  <p:embed/>
                  <p:pic>
                    <p:nvPicPr>
                      <p:cNvPr id="22" name="Объект 2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2447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44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59130019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567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7" r:id="rId1"/>
    <p:sldLayoutId id="2147485519" r:id="rId2"/>
    <p:sldLayoutId id="2147485520" r:id="rId3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6" imgH="136" progId="TCLayout.ActiveDocument.1">
                  <p:embed/>
                </p:oleObj>
              </mc:Choice>
              <mc:Fallback>
                <p:oleObj name="think-cell Slide" r:id="rId4" imgW="136" imgH="136" progId="TCLayout.ActiveDocument.1">
                  <p:embed/>
                  <p:pic>
                    <p:nvPicPr>
                      <p:cNvPr id="22" name="Объект 2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7843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46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55710528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685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3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75062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7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0871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3311729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5151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1" r:id="rId1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72463838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88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4" r:id="rId1"/>
    <p:sldLayoutId id="2147485545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21940549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8764737" y="4894288"/>
            <a:ext cx="341677" cy="246181"/>
          </a:xfrm>
          <a:prstGeom prst="rect">
            <a:avLst/>
          </a:prstGeom>
        </p:spPr>
        <p:txBody>
          <a:bodyPr wrap="none" lIns="91399" tIns="45700" rIns="91399" bIns="45700">
            <a:spAutoFit/>
          </a:bodyPr>
          <a:lstStyle/>
          <a:p>
            <a:fld id="{B100055D-BE97-4116-91F5-ADFE5EDBD620}" type="slidenum">
              <a:rPr lang="ru-RU" sz="10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8201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7" r:id="rId1"/>
    <p:sldLayoutId id="2147485548" r:id="rId2"/>
  </p:sldLayoutIdLst>
  <p:hf sldNum="0" hdr="0" ftr="0" dt="0"/>
  <p:txStyles>
    <p:titleStyle>
      <a:lvl1pPr algn="l" defTabSz="913986" rtl="0" eaLnBrk="1" latinLnBrk="0" hangingPunct="1">
        <a:lnSpc>
          <a:spcPct val="90000"/>
        </a:lnSpc>
        <a:spcBef>
          <a:spcPct val="0"/>
        </a:spcBef>
        <a:buNone/>
        <a:defRPr lang="ru-RU" sz="2200" b="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496" indent="-228496" algn="l" defTabSz="9139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89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3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0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6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48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1" indent="-228496" algn="l" defTabSz="9139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0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7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9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2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4" algn="l" defTabSz="913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1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1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1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hyperlink" Target="http://www.sberbank.ru/" TargetMode="External"/><Relationship Id="rId1" Type="http://schemas.openxmlformats.org/officeDocument/2006/relationships/slideLayout" Target="../slideLayouts/slideLayout9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3"/>
          <p:cNvSpPr txBox="1">
            <a:spLocks/>
          </p:cNvSpPr>
          <p:nvPr/>
        </p:nvSpPr>
        <p:spPr bwMode="auto">
          <a:xfrm>
            <a:off x="1007604" y="2067694"/>
            <a:ext cx="7128792" cy="530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139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200" b="0" kern="1200">
                <a:solidFill>
                  <a:srgbClr val="606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4800" dirty="0">
                <a:solidFill>
                  <a:srgbClr val="008000"/>
                </a:solidFill>
                <a:latin typeface="+mj-lt"/>
                <a:ea typeface="+mn-ea"/>
                <a:cs typeface="Calibri" panose="020F0502020204030204" pitchFamily="34" charset="0"/>
              </a:rPr>
              <a:t>Преимущества </a:t>
            </a:r>
            <a:r>
              <a:rPr lang="ru-RU" sz="4800" dirty="0" err="1">
                <a:solidFill>
                  <a:srgbClr val="008000"/>
                </a:solidFill>
                <a:latin typeface="+mj-lt"/>
                <a:ea typeface="+mn-ea"/>
                <a:cs typeface="Calibri" panose="020F0502020204030204" pitchFamily="34" charset="0"/>
              </a:rPr>
              <a:t>Эквайринга</a:t>
            </a:r>
            <a:endParaRPr lang="ru-RU" sz="1200" dirty="0">
              <a:solidFill>
                <a:srgbClr val="008000"/>
              </a:solidFill>
              <a:latin typeface="+mj-lt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7901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Смарт</a:t>
            </a:r>
            <a:r>
              <a:rPr lang="en-US" sz="2400" b="1" dirty="0"/>
              <a:t>POS«2</a:t>
            </a:r>
            <a:r>
              <a:rPr lang="ru-RU" sz="2400" b="1" dirty="0"/>
              <a:t>в1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851920" y="1730113"/>
            <a:ext cx="730639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/>
              <a:t>Стоимость:</a:t>
            </a:r>
          </a:p>
          <a:p>
            <a:r>
              <a:rPr lang="ru-RU" sz="1050" dirty="0"/>
              <a:t>•Тариф от 1,6%-2,5%*</a:t>
            </a:r>
          </a:p>
          <a:p>
            <a:endParaRPr lang="ru-RU" sz="1050" dirty="0"/>
          </a:p>
          <a:p>
            <a:r>
              <a:rPr lang="ru-RU" sz="1050" b="1" dirty="0"/>
              <a:t>Преимущества </a:t>
            </a:r>
            <a:r>
              <a:rPr lang="ru-RU" sz="1050" dirty="0"/>
              <a:t>Торгового </a:t>
            </a:r>
            <a:r>
              <a:rPr lang="ru-RU" sz="1050" dirty="0" err="1"/>
              <a:t>эквайринга</a:t>
            </a:r>
            <a:r>
              <a:rPr lang="ru-RU" sz="1050" dirty="0"/>
              <a:t> от Сбербанка:</a:t>
            </a:r>
          </a:p>
          <a:p>
            <a:r>
              <a:rPr lang="ru-RU" sz="1050" dirty="0"/>
              <a:t>• Оборудование предоставляется банком бесплатно.</a:t>
            </a:r>
          </a:p>
          <a:p>
            <a:r>
              <a:rPr lang="ru-RU" sz="1050" dirty="0"/>
              <a:t>• Бесплатная установка и сопровождение. </a:t>
            </a:r>
          </a:p>
          <a:p>
            <a:r>
              <a:rPr lang="ru-RU" sz="1050" dirty="0"/>
              <a:t>• Экономя времени. </a:t>
            </a:r>
          </a:p>
          <a:p>
            <a:r>
              <a:rPr lang="ru-RU" sz="1050" dirty="0"/>
              <a:t>    Регистрация и установка 3 дня.  </a:t>
            </a:r>
          </a:p>
          <a:p>
            <a:r>
              <a:rPr lang="ru-RU" sz="1050" dirty="0"/>
              <a:t>• Прием бесконтактных платежей (карты, </a:t>
            </a:r>
            <a:r>
              <a:rPr lang="ru-RU" sz="1050" dirty="0" err="1"/>
              <a:t>Apple</a:t>
            </a:r>
            <a:r>
              <a:rPr lang="ru-RU" sz="1050" dirty="0"/>
              <a:t>/</a:t>
            </a:r>
            <a:r>
              <a:rPr lang="ru-RU" sz="1050" dirty="0" err="1"/>
              <a:t>GooglePay</a:t>
            </a:r>
            <a:r>
              <a:rPr lang="ru-RU" sz="1050" dirty="0"/>
              <a:t>, часы и </a:t>
            </a:r>
            <a:r>
              <a:rPr lang="ru-RU" sz="1050" dirty="0" err="1"/>
              <a:t>тд</a:t>
            </a:r>
            <a:r>
              <a:rPr lang="ru-RU" sz="1050" dirty="0"/>
              <a:t>)</a:t>
            </a:r>
          </a:p>
          <a:p>
            <a:r>
              <a:rPr lang="ru-RU" sz="1050" dirty="0"/>
              <a:t>• Интеграция с Вашим кассовым ПО.</a:t>
            </a:r>
          </a:p>
          <a:p>
            <a:r>
              <a:rPr lang="ru-RU" sz="1050" dirty="0"/>
              <a:t>• История всех совершенных операций.</a:t>
            </a:r>
          </a:p>
          <a:p>
            <a:endParaRPr lang="ru-RU" sz="1050" dirty="0"/>
          </a:p>
          <a:p>
            <a:r>
              <a:rPr lang="ru-RU" sz="1050" b="1" dirty="0"/>
              <a:t>Ограничения:</a:t>
            </a:r>
          </a:p>
          <a:p>
            <a:r>
              <a:rPr lang="ru-RU" sz="1050" dirty="0"/>
              <a:t>Обязательное наличие устойчивой связи (</a:t>
            </a:r>
            <a:r>
              <a:rPr lang="ru-RU" sz="1050" dirty="0" err="1"/>
              <a:t>gprs</a:t>
            </a:r>
            <a:r>
              <a:rPr lang="ru-RU" sz="1050" dirty="0"/>
              <a:t>, </a:t>
            </a:r>
            <a:r>
              <a:rPr lang="ru-RU" sz="1050" dirty="0" err="1"/>
              <a:t>ethernet</a:t>
            </a:r>
            <a:r>
              <a:rPr lang="ru-RU" sz="1050" dirty="0"/>
              <a:t>, </a:t>
            </a:r>
            <a:r>
              <a:rPr lang="ru-RU" sz="1050" dirty="0" err="1"/>
              <a:t>wi-fi</a:t>
            </a:r>
            <a:r>
              <a:rPr lang="ru-RU" sz="1050" dirty="0"/>
              <a:t>)</a:t>
            </a:r>
          </a:p>
          <a:p>
            <a:endParaRPr lang="ru-RU" sz="1050" dirty="0"/>
          </a:p>
          <a:p>
            <a:r>
              <a:rPr lang="ru-RU" sz="1050" dirty="0"/>
              <a:t>Сроки установки:3 дня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7504" y="699542"/>
            <a:ext cx="91080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Торговый </a:t>
            </a:r>
            <a:r>
              <a:rPr lang="ru-RU" sz="1600" b="1" dirty="0" err="1"/>
              <a:t>эквайринг</a:t>
            </a:r>
            <a:r>
              <a:rPr lang="ru-RU" sz="1600" b="1" dirty="0"/>
              <a:t>  </a:t>
            </a:r>
            <a:r>
              <a:rPr lang="ru-RU" sz="1600" dirty="0"/>
              <a:t>- POS-терминал, позволяющий принимать безналичную оплату от покупателей. </a:t>
            </a:r>
          </a:p>
          <a:p>
            <a:r>
              <a:rPr lang="ru-RU" sz="1600" dirty="0"/>
              <a:t>Для торговых точек и предприятий занимающих торговлей и предоставляющих услуги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1763177"/>
            <a:ext cx="2752995" cy="3184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8013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Смарт</a:t>
            </a:r>
            <a:r>
              <a:rPr lang="en-US" sz="2400" b="1" dirty="0"/>
              <a:t>POS«2</a:t>
            </a:r>
            <a:r>
              <a:rPr lang="ru-RU" sz="2400" b="1" dirty="0"/>
              <a:t>в1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851920" y="1730113"/>
            <a:ext cx="7306392" cy="3162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/>
              <a:t>Стоимость:</a:t>
            </a:r>
          </a:p>
          <a:p>
            <a:r>
              <a:rPr lang="ru-RU" sz="1050" dirty="0"/>
              <a:t>•Тариф от 1,2%-2,5%*</a:t>
            </a:r>
          </a:p>
          <a:p>
            <a:r>
              <a:rPr lang="ru-RU" sz="1050" dirty="0"/>
              <a:t>•Пакет Старт+ 1 000 руб. в мес. и Пакет Бизнес 2 000 руб. в мес.</a:t>
            </a:r>
          </a:p>
          <a:p>
            <a:r>
              <a:rPr lang="en-US" sz="1050" dirty="0"/>
              <a:t>•2D-</a:t>
            </a:r>
            <a:r>
              <a:rPr lang="ru-RU" sz="1050" dirty="0"/>
              <a:t>сканер –200-300 руб./мес.</a:t>
            </a:r>
          </a:p>
          <a:p>
            <a:endParaRPr lang="ru-RU" sz="1050" dirty="0"/>
          </a:p>
          <a:p>
            <a:r>
              <a:rPr lang="ru-RU" sz="1050" b="1" dirty="0"/>
              <a:t>Преимущества </a:t>
            </a:r>
            <a:r>
              <a:rPr lang="ru-RU" sz="1050" dirty="0"/>
              <a:t>Смарт</a:t>
            </a:r>
            <a:r>
              <a:rPr lang="en-US" sz="1050" dirty="0"/>
              <a:t>POS«2</a:t>
            </a:r>
            <a:r>
              <a:rPr lang="ru-RU" sz="1050" dirty="0"/>
              <a:t>в1» от Сбербанка:</a:t>
            </a:r>
          </a:p>
          <a:p>
            <a:r>
              <a:rPr lang="ru-RU" sz="1050" dirty="0"/>
              <a:t>•Экономя времени. </a:t>
            </a:r>
          </a:p>
          <a:p>
            <a:r>
              <a:rPr lang="ru-RU" sz="1050" dirty="0"/>
              <a:t>Регистрация и установка 3 дня. </a:t>
            </a:r>
          </a:p>
          <a:p>
            <a:r>
              <a:rPr lang="ru-RU" sz="1050" dirty="0"/>
              <a:t>при самостоятельной покупке и регистрации до 19 дней. </a:t>
            </a:r>
          </a:p>
          <a:p>
            <a:r>
              <a:rPr lang="ru-RU" sz="1050" dirty="0"/>
              <a:t>•Экономя денег. От 1 000 руб. против 30 000 руб. первый месяц </a:t>
            </a:r>
          </a:p>
          <a:p>
            <a:r>
              <a:rPr lang="ru-RU" sz="1050" dirty="0"/>
              <a:t>Доп. регистрация в ФНС не требуется.</a:t>
            </a:r>
          </a:p>
          <a:p>
            <a:r>
              <a:rPr lang="ru-RU" sz="1050" dirty="0"/>
              <a:t>•Не требует дополнительно подключение POS-терминала</a:t>
            </a:r>
          </a:p>
          <a:p>
            <a:r>
              <a:rPr lang="ru-RU" sz="1050" dirty="0"/>
              <a:t>•Доступна аренда 2D-сканера, для реализации товаров с обязательной маркировкой</a:t>
            </a:r>
          </a:p>
          <a:p>
            <a:r>
              <a:rPr lang="ru-RU" sz="1050" dirty="0"/>
              <a:t> (обувь, лекарства, табачные изделия)</a:t>
            </a:r>
          </a:p>
          <a:p>
            <a:endParaRPr lang="ru-RU" sz="1050" dirty="0"/>
          </a:p>
          <a:p>
            <a:r>
              <a:rPr lang="ru-RU" sz="1050" b="1" dirty="0"/>
              <a:t>Ограничения:</a:t>
            </a:r>
          </a:p>
          <a:p>
            <a:r>
              <a:rPr lang="ru-RU" sz="1050" dirty="0"/>
              <a:t>Обязательное наличие устойчивой связи (</a:t>
            </a:r>
            <a:r>
              <a:rPr lang="ru-RU" sz="1050" dirty="0" err="1"/>
              <a:t>gprs</a:t>
            </a:r>
            <a:r>
              <a:rPr lang="ru-RU" sz="1050" dirty="0"/>
              <a:t>, </a:t>
            </a:r>
            <a:r>
              <a:rPr lang="ru-RU" sz="1050" dirty="0" err="1"/>
              <a:t>ethernet</a:t>
            </a:r>
            <a:r>
              <a:rPr lang="ru-RU" sz="1050" dirty="0"/>
              <a:t>, </a:t>
            </a:r>
            <a:r>
              <a:rPr lang="ru-RU" sz="1050" dirty="0" err="1"/>
              <a:t>wi-fi</a:t>
            </a:r>
            <a:r>
              <a:rPr lang="ru-RU" sz="1050" dirty="0"/>
              <a:t>)</a:t>
            </a:r>
          </a:p>
          <a:p>
            <a:endParaRPr lang="ru-RU" sz="1050" dirty="0"/>
          </a:p>
          <a:p>
            <a:r>
              <a:rPr lang="ru-RU" sz="1050" dirty="0"/>
              <a:t>Сроки установки:3 дня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417" r="16805"/>
          <a:stretch/>
        </p:blipFill>
        <p:spPr>
          <a:xfrm>
            <a:off x="467544" y="2139702"/>
            <a:ext cx="2752995" cy="280728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07504" y="699542"/>
            <a:ext cx="813030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Смарт</a:t>
            </a:r>
            <a:r>
              <a:rPr lang="en-US" sz="1600" b="1" dirty="0"/>
              <a:t>POS«2</a:t>
            </a:r>
            <a:r>
              <a:rPr lang="ru-RU" sz="1600" b="1" dirty="0"/>
              <a:t>в1»  </a:t>
            </a:r>
            <a:r>
              <a:rPr lang="ru-RU" sz="1600" dirty="0"/>
              <a:t>-</a:t>
            </a:r>
            <a:r>
              <a:rPr lang="ru-RU" sz="1600" dirty="0" err="1"/>
              <a:t>Onlinе</a:t>
            </a:r>
            <a:r>
              <a:rPr lang="ru-RU" sz="1600" dirty="0"/>
              <a:t> касса и POS-терминал в одном корпусе, позволяющая принимать </a:t>
            </a:r>
          </a:p>
          <a:p>
            <a:r>
              <a:rPr lang="ru-RU" sz="1600" dirty="0"/>
              <a:t>безналичную оплату от покупателей и соблюдать требования ФЗ-54. </a:t>
            </a:r>
          </a:p>
          <a:p>
            <a:r>
              <a:rPr lang="ru-RU" sz="1600" dirty="0"/>
              <a:t>Для торговых точек и предприятий предоставляющих услуги, доставки курьером</a:t>
            </a:r>
          </a:p>
        </p:txBody>
      </p:sp>
    </p:spTree>
    <p:extLst>
      <p:ext uri="{BB962C8B-B14F-4D97-AF65-F5344CB8AC3E}">
        <p14:creationId xmlns:p14="http://schemas.microsoft.com/office/powerpoint/2010/main" val="893171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 err="1"/>
              <a:t>Эвотор</a:t>
            </a:r>
            <a:endParaRPr lang="ru-RU" sz="24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064893" y="1678970"/>
            <a:ext cx="5040178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/>
              <a:t>Стоимость:</a:t>
            </a:r>
          </a:p>
          <a:p>
            <a:r>
              <a:rPr lang="ru-RU" sz="1050" dirty="0"/>
              <a:t>•Тариф от 1,2%-2,5%*</a:t>
            </a:r>
          </a:p>
          <a:p>
            <a:r>
              <a:rPr lang="ru-RU" sz="1050" dirty="0"/>
              <a:t>•Пакет Старт+ 1 200 –1 440 и Пакет Бизнес 2 200 –2 400 руб. в мес.</a:t>
            </a:r>
          </a:p>
          <a:p>
            <a:r>
              <a:rPr lang="en-US" sz="1050" dirty="0"/>
              <a:t>•2D-</a:t>
            </a:r>
            <a:r>
              <a:rPr lang="ru-RU" sz="1050" dirty="0"/>
              <a:t>сканер –200-300 руб./мес.</a:t>
            </a:r>
          </a:p>
          <a:p>
            <a:endParaRPr lang="ru-RU" sz="1050" dirty="0"/>
          </a:p>
          <a:p>
            <a:r>
              <a:rPr lang="ru-RU" sz="1050" b="1" dirty="0"/>
              <a:t>Преимущества</a:t>
            </a:r>
            <a:r>
              <a:rPr lang="ru-RU" sz="1050" dirty="0"/>
              <a:t> ЭВОТОР+ от Сбербанка:</a:t>
            </a:r>
          </a:p>
          <a:p>
            <a:r>
              <a:rPr lang="ru-RU" sz="1050" dirty="0"/>
              <a:t>•Экономя времени. Регистрация и установка 3 дня. при самостоятельной покупке и регистрации до 19 дней. </a:t>
            </a:r>
          </a:p>
          <a:p>
            <a:r>
              <a:rPr lang="ru-RU" sz="1050" dirty="0"/>
              <a:t>•Экономия денег. От 1 200 руб. против 30 000 руб. первый месяц </a:t>
            </a:r>
          </a:p>
          <a:p>
            <a:r>
              <a:rPr lang="ru-RU" sz="1050" dirty="0"/>
              <a:t>•Экономия денег. За 1 день меняем сломанную кассу на новую с сохранением фискального накопителя. Доп. регистрация в ФНС не требуется.</a:t>
            </a:r>
          </a:p>
          <a:p>
            <a:r>
              <a:rPr lang="ru-RU" sz="1050" dirty="0"/>
              <a:t>•Доступна аренда 2D-сканера, для реализации товаров с обязательной маркировкой (обувь, лекарства, табачные изделия)</a:t>
            </a:r>
          </a:p>
          <a:p>
            <a:endParaRPr lang="ru-RU" sz="1050" dirty="0"/>
          </a:p>
          <a:p>
            <a:r>
              <a:rPr lang="ru-RU" sz="1050" b="1" dirty="0"/>
              <a:t>Ограничения:</a:t>
            </a:r>
          </a:p>
          <a:p>
            <a:r>
              <a:rPr lang="ru-RU" sz="1050" dirty="0"/>
              <a:t>Обязательное наличие устойчивой связи (</a:t>
            </a:r>
            <a:r>
              <a:rPr lang="ru-RU" sz="1050" dirty="0" err="1"/>
              <a:t>gprs</a:t>
            </a:r>
            <a:r>
              <a:rPr lang="ru-RU" sz="1050" dirty="0"/>
              <a:t>, </a:t>
            </a:r>
            <a:r>
              <a:rPr lang="ru-RU" sz="1050" dirty="0" err="1"/>
              <a:t>ethernet</a:t>
            </a:r>
            <a:r>
              <a:rPr lang="ru-RU" sz="1050" dirty="0"/>
              <a:t>, </a:t>
            </a:r>
            <a:r>
              <a:rPr lang="ru-RU" sz="1050" dirty="0" err="1"/>
              <a:t>wi-fi</a:t>
            </a:r>
            <a:r>
              <a:rPr lang="ru-RU" sz="1050" dirty="0"/>
              <a:t>).</a:t>
            </a:r>
          </a:p>
          <a:p>
            <a:r>
              <a:rPr lang="ru-RU" sz="1050" dirty="0"/>
              <a:t>Сроки установки: 3 дня</a:t>
            </a:r>
          </a:p>
          <a:p>
            <a:endParaRPr lang="ru-RU" sz="1050" dirty="0"/>
          </a:p>
          <a:p>
            <a:r>
              <a:rPr lang="ru-RU" sz="1050" dirty="0"/>
              <a:t>*Тариф зависит от вида деятельности и оборота, информация размещена на сайте www.sberbank.ru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33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500"/>
          <a:stretch/>
        </p:blipFill>
        <p:spPr>
          <a:xfrm>
            <a:off x="433744" y="1893802"/>
            <a:ext cx="2938581" cy="2972090"/>
          </a:xfrm>
          <a:prstGeom prst="rect">
            <a:avLst/>
          </a:prstGeom>
          <a:solidFill>
            <a:srgbClr val="21C5B1"/>
          </a:solidFill>
        </p:spPr>
      </p:pic>
      <p:sp>
        <p:nvSpPr>
          <p:cNvPr id="5" name="TextBox 4"/>
          <p:cNvSpPr txBox="1"/>
          <p:nvPr/>
        </p:nvSpPr>
        <p:spPr>
          <a:xfrm>
            <a:off x="442847" y="651341"/>
            <a:ext cx="81551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err="1"/>
              <a:t>Эвотор</a:t>
            </a:r>
            <a:r>
              <a:rPr lang="ru-RU" sz="1600" b="1" dirty="0"/>
              <a:t> </a:t>
            </a:r>
            <a:r>
              <a:rPr lang="ru-RU" sz="1600" dirty="0"/>
              <a:t>– это касса, позволяющая принимать безналичную оплату от покупателей и соблюдать требования ФЗ-54. </a:t>
            </a:r>
          </a:p>
          <a:p>
            <a:r>
              <a:rPr lang="ru-RU" sz="1600" dirty="0"/>
              <a:t>Для торговых точек и предприятий предоставляющих услуги, кроме крупных сетей с собственным решением</a:t>
            </a:r>
          </a:p>
        </p:txBody>
      </p:sp>
    </p:spTree>
    <p:extLst>
      <p:ext uri="{BB962C8B-B14F-4D97-AF65-F5344CB8AC3E}">
        <p14:creationId xmlns:p14="http://schemas.microsoft.com/office/powerpoint/2010/main" val="38240560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Плати </a:t>
            </a:r>
            <a:r>
              <a:rPr lang="en-US" sz="2400" b="1" dirty="0"/>
              <a:t>QR</a:t>
            </a:r>
            <a:endParaRPr lang="ru-RU" sz="24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987824" y="1851670"/>
            <a:ext cx="7596429" cy="28392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/>
              <a:t>Стоимость:</a:t>
            </a:r>
          </a:p>
          <a:p>
            <a:r>
              <a:rPr lang="ru-RU" sz="1050" dirty="0"/>
              <a:t>•0,6% Для компаний социальной сферы –аптеки, больницы, пассажирские перевозки</a:t>
            </a:r>
          </a:p>
          <a:p>
            <a:r>
              <a:rPr lang="ru-RU" sz="1050" dirty="0"/>
              <a:t>•1% но не более 10 тыс. руб. -Для компаний с большим средним чеком –</a:t>
            </a:r>
            <a:r>
              <a:rPr lang="ru-RU" sz="1050" dirty="0" err="1"/>
              <a:t>турагенства</a:t>
            </a:r>
            <a:r>
              <a:rPr lang="ru-RU" sz="1050" dirty="0"/>
              <a:t>, недвижимость</a:t>
            </a:r>
          </a:p>
          <a:p>
            <a:r>
              <a:rPr lang="ru-RU" sz="1050" dirty="0"/>
              <a:t>•1,5% Для всех остальных видов бизнеса</a:t>
            </a:r>
          </a:p>
          <a:p>
            <a:endParaRPr lang="ru-RU" sz="1050" dirty="0"/>
          </a:p>
          <a:p>
            <a:r>
              <a:rPr lang="ru-RU" sz="1050" b="1" dirty="0"/>
              <a:t>Преимущества </a:t>
            </a:r>
            <a:r>
              <a:rPr lang="ru-RU" sz="1050" dirty="0"/>
              <a:t>Плати </a:t>
            </a:r>
            <a:r>
              <a:rPr lang="en-US" sz="1050" dirty="0"/>
              <a:t>QR</a:t>
            </a:r>
            <a:r>
              <a:rPr lang="ru-RU" sz="1050" dirty="0"/>
              <a:t>от Сбербанка:</a:t>
            </a:r>
          </a:p>
          <a:p>
            <a:r>
              <a:rPr lang="ru-RU" sz="1050" dirty="0"/>
              <a:t>•Не требует установки и обслуживания оборудования</a:t>
            </a:r>
          </a:p>
          <a:p>
            <a:r>
              <a:rPr lang="ru-RU" sz="1050" dirty="0"/>
              <a:t>•Можно принимать безналичную оплату где угодно, нужен только смартфон и QR-код</a:t>
            </a:r>
          </a:p>
          <a:p>
            <a:r>
              <a:rPr lang="ru-RU" sz="1050" dirty="0"/>
              <a:t>•QR-код не ломается, работает без электричества, занимает минимум места</a:t>
            </a:r>
          </a:p>
          <a:p>
            <a:r>
              <a:rPr lang="ru-RU" sz="1050" dirty="0"/>
              <a:t>•Тарифы от 0,6% без условий по обороту и фиксированных платежей</a:t>
            </a:r>
          </a:p>
          <a:p>
            <a:endParaRPr lang="ru-RU" sz="1050" b="1" dirty="0"/>
          </a:p>
          <a:p>
            <a:r>
              <a:rPr lang="ru-RU" sz="1050" b="1" dirty="0"/>
              <a:t>Ограничения:</a:t>
            </a:r>
          </a:p>
          <a:p>
            <a:r>
              <a:rPr lang="ru-RU" sz="1050" dirty="0"/>
              <a:t>•Оплатить услуги смогут только владельцы карт Сбербанка и Тинькофф</a:t>
            </a:r>
          </a:p>
          <a:p>
            <a:r>
              <a:rPr lang="ru-RU" sz="1050" dirty="0"/>
              <a:t>•Необходимо наличие смартфона с приложением Сбербанк Онлайн или Тинькофф</a:t>
            </a:r>
          </a:p>
          <a:p>
            <a:r>
              <a:rPr lang="ru-RU" sz="1050" dirty="0"/>
              <a:t>•Наличие Сбербанк Бизнес Онлайн у предприятия (для генерации кода и получения уведомлений)</a:t>
            </a:r>
          </a:p>
          <a:p>
            <a:endParaRPr lang="ru-RU" sz="1050" dirty="0"/>
          </a:p>
          <a:p>
            <a:r>
              <a:rPr lang="ru-RU" sz="1050" dirty="0"/>
              <a:t>Сроки установки: 1 день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l="19487" t="19876" r="63493" b="42345"/>
          <a:stretch/>
        </p:blipFill>
        <p:spPr>
          <a:xfrm>
            <a:off x="208430" y="1995686"/>
            <a:ext cx="2492231" cy="293179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3249" y="592301"/>
            <a:ext cx="1086485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Плати </a:t>
            </a:r>
            <a:r>
              <a:rPr lang="en-US" sz="1600" b="1" dirty="0"/>
              <a:t>QR</a:t>
            </a:r>
            <a:r>
              <a:rPr lang="ru-RU" sz="1600" b="1" dirty="0"/>
              <a:t> </a:t>
            </a:r>
            <a:r>
              <a:rPr lang="ru-RU" sz="1600" dirty="0"/>
              <a:t>– Услуга, позволяющая принимать безналичную оплату от покупателей</a:t>
            </a:r>
          </a:p>
          <a:p>
            <a:r>
              <a:rPr lang="ru-RU" sz="1600" dirty="0"/>
              <a:t> с помощью Вашего персонального QR-кода.</a:t>
            </a:r>
          </a:p>
          <a:p>
            <a:r>
              <a:rPr lang="ru-RU" sz="1600" dirty="0"/>
              <a:t>Интересен в сферах с небольшим кол-вом транзакций, где нет очередей: туристические фирмы, </a:t>
            </a:r>
          </a:p>
          <a:p>
            <a:r>
              <a:rPr lang="ru-RU" sz="1600" dirty="0"/>
              <a:t>недвижимость, автомобили, кафе, врачи, ветеринары, парикмахерские, и т.д.</a:t>
            </a:r>
          </a:p>
        </p:txBody>
      </p:sp>
    </p:spTree>
    <p:extLst>
      <p:ext uri="{BB962C8B-B14F-4D97-AF65-F5344CB8AC3E}">
        <p14:creationId xmlns:p14="http://schemas.microsoft.com/office/powerpoint/2010/main" val="1953996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 err="1"/>
              <a:t>TapOnPhone</a:t>
            </a:r>
            <a:endParaRPr lang="ru-RU" sz="2400" b="1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5" r="9548"/>
          <a:stretch/>
        </p:blipFill>
        <p:spPr>
          <a:xfrm>
            <a:off x="251519" y="2139702"/>
            <a:ext cx="3010243" cy="266429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872" y="1777592"/>
            <a:ext cx="662694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/>
              <a:t>Стоимость:</a:t>
            </a:r>
            <a:endParaRPr lang="ru-RU" sz="1100" dirty="0"/>
          </a:p>
          <a:p>
            <a:r>
              <a:rPr lang="ru-RU" sz="1100" dirty="0"/>
              <a:t>Тариф от 1,6%-2,5%</a:t>
            </a:r>
          </a:p>
          <a:p>
            <a:endParaRPr lang="ru-RU" sz="1100" dirty="0"/>
          </a:p>
          <a:p>
            <a:r>
              <a:rPr lang="ru-RU" sz="1100" b="1" dirty="0"/>
              <a:t>Преимущества </a:t>
            </a:r>
            <a:r>
              <a:rPr lang="en-US" sz="1100" b="1" dirty="0" err="1"/>
              <a:t>TapOnPhone</a:t>
            </a:r>
            <a:r>
              <a:rPr lang="ru-RU" sz="1100" b="1" dirty="0"/>
              <a:t> от Сбербанка:</a:t>
            </a:r>
            <a:endParaRPr lang="ru-RU" sz="1100" dirty="0"/>
          </a:p>
          <a:p>
            <a:r>
              <a:rPr lang="ru-RU" sz="1100" dirty="0"/>
              <a:t>•Не требует терминального оборудования, только </a:t>
            </a:r>
            <a:r>
              <a:rPr lang="ru-RU" sz="1100" dirty="0" err="1"/>
              <a:t>Android</a:t>
            </a:r>
            <a:r>
              <a:rPr lang="ru-RU" sz="1100" dirty="0"/>
              <a:t> смартфон </a:t>
            </a:r>
          </a:p>
          <a:p>
            <a:r>
              <a:rPr lang="ru-RU" sz="1100" dirty="0"/>
              <a:t>•Прием бесконтактных платежей (карты, </a:t>
            </a:r>
            <a:r>
              <a:rPr lang="ru-RU" sz="1100" dirty="0" err="1"/>
              <a:t>Apple</a:t>
            </a:r>
            <a:r>
              <a:rPr lang="ru-RU" sz="1100" dirty="0"/>
              <a:t>/</a:t>
            </a:r>
            <a:r>
              <a:rPr lang="ru-RU" sz="1100" dirty="0" err="1"/>
              <a:t>GooglePay</a:t>
            </a:r>
            <a:r>
              <a:rPr lang="ru-RU" sz="1100" dirty="0"/>
              <a:t>, часы и </a:t>
            </a:r>
            <a:r>
              <a:rPr lang="ru-RU" sz="1100" dirty="0" err="1"/>
              <a:t>тд</a:t>
            </a:r>
            <a:r>
              <a:rPr lang="ru-RU" sz="1100" dirty="0"/>
              <a:t>)</a:t>
            </a:r>
          </a:p>
          <a:p>
            <a:r>
              <a:rPr lang="ru-RU" sz="1100" dirty="0"/>
              <a:t>•Интеграция с Вашим приложением (app2app) </a:t>
            </a:r>
          </a:p>
          <a:p>
            <a:r>
              <a:rPr lang="ru-RU" sz="1100" dirty="0"/>
              <a:t>•История всех совершенных операций. </a:t>
            </a:r>
          </a:p>
          <a:p>
            <a:r>
              <a:rPr lang="ru-RU" sz="1100" dirty="0"/>
              <a:t>•Отправка чеков на электронные адреса клиентов </a:t>
            </a:r>
          </a:p>
          <a:p>
            <a:endParaRPr lang="ru-RU" sz="1100" dirty="0"/>
          </a:p>
          <a:p>
            <a:r>
              <a:rPr lang="ru-RU" sz="1100" b="1" dirty="0"/>
              <a:t>Ограничения:</a:t>
            </a:r>
            <a:endParaRPr lang="ru-RU" sz="1100" dirty="0"/>
          </a:p>
          <a:p>
            <a:r>
              <a:rPr lang="ru-RU" sz="1100" dirty="0"/>
              <a:t>•Смартфоны на базе ОС </a:t>
            </a:r>
            <a:r>
              <a:rPr lang="ru-RU" sz="1100" dirty="0" err="1"/>
              <a:t>Android</a:t>
            </a:r>
            <a:r>
              <a:rPr lang="ru-RU" sz="1100" dirty="0"/>
              <a:t> c версией не ниже 7.1 и наличием NFC</a:t>
            </a:r>
          </a:p>
          <a:p>
            <a:r>
              <a:rPr lang="ru-RU" sz="1100" dirty="0"/>
              <a:t>•Максимальная сумма оплаты при проведении операции по бесконтактной карте не более</a:t>
            </a:r>
          </a:p>
          <a:p>
            <a:r>
              <a:rPr lang="ru-RU" sz="1100" dirty="0"/>
              <a:t>1 000 рублей. Для совершения оплаты с помощью смартфонов и умных часов -лимита нет.</a:t>
            </a:r>
          </a:p>
          <a:p>
            <a:r>
              <a:rPr lang="ru-RU" sz="1100" dirty="0"/>
              <a:t>•Недоступны операции “возврат покупки”</a:t>
            </a:r>
          </a:p>
          <a:p>
            <a:endParaRPr lang="ru-RU" sz="1100" dirty="0"/>
          </a:p>
          <a:p>
            <a:r>
              <a:rPr lang="ru-RU" sz="1100" b="1" dirty="0"/>
              <a:t>Сроки установки:</a:t>
            </a:r>
            <a:endParaRPr lang="ru-RU" sz="1100" dirty="0"/>
          </a:p>
          <a:p>
            <a:r>
              <a:rPr lang="ru-RU" sz="1100" dirty="0"/>
              <a:t>2 дня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6207" y="795820"/>
            <a:ext cx="114593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/>
              <a:t>TapOnPhone</a:t>
            </a:r>
            <a:r>
              <a:rPr lang="ru-RU" sz="1400" b="1" dirty="0"/>
              <a:t>- </a:t>
            </a:r>
            <a:r>
              <a:rPr lang="ru-RU" sz="1400" dirty="0"/>
              <a:t>Услуга, позволяющая принимать безналичную оплату от покупателей с помощью смартфона</a:t>
            </a:r>
          </a:p>
          <a:p>
            <a:r>
              <a:rPr lang="ru-RU" sz="1400" dirty="0"/>
              <a:t>Для торговых точек и предприятий предоставляющих услуги.  Интересен в сферах со средним чеком не более </a:t>
            </a:r>
          </a:p>
          <a:p>
            <a:r>
              <a:rPr lang="ru-RU" sz="1400" dirty="0"/>
              <a:t>1000 руб., где нет очередей: туристические фирмы, недвижимость, автомобили, кафе, врачи, ветеринары, </a:t>
            </a:r>
          </a:p>
          <a:p>
            <a:r>
              <a:rPr lang="ru-RU" sz="1400" dirty="0"/>
              <a:t>парикмахерские, и </a:t>
            </a:r>
            <a:r>
              <a:rPr lang="ru-RU" sz="1400" dirty="0" err="1"/>
              <a:t>т.д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521488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Интернет </a:t>
            </a:r>
            <a:r>
              <a:rPr lang="ru-RU" sz="2400" b="1" dirty="0" err="1"/>
              <a:t>Эквайринг</a:t>
            </a:r>
            <a:endParaRPr lang="ru-RU" sz="24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635896" y="2283718"/>
            <a:ext cx="6839064" cy="2516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/>
              <a:t>Стоимость: </a:t>
            </a:r>
            <a:r>
              <a:rPr lang="ru-RU" sz="1050" dirty="0"/>
              <a:t>Тариф от 1,2%-2,5%* + услуга </a:t>
            </a:r>
            <a:r>
              <a:rPr lang="en-US" sz="1050" dirty="0" err="1"/>
              <a:t>SberPay</a:t>
            </a:r>
            <a:r>
              <a:rPr lang="en-US" sz="1050" dirty="0"/>
              <a:t> </a:t>
            </a:r>
            <a:r>
              <a:rPr lang="ru-RU" sz="1050" dirty="0"/>
              <a:t>бесплатно</a:t>
            </a:r>
          </a:p>
          <a:p>
            <a:endParaRPr lang="ru-RU" sz="1050" dirty="0"/>
          </a:p>
          <a:p>
            <a:r>
              <a:rPr lang="ru-RU" sz="1050" b="1" dirty="0"/>
              <a:t>Преимущества</a:t>
            </a:r>
            <a:r>
              <a:rPr lang="ru-RU" sz="1050" dirty="0"/>
              <a:t> интернет </a:t>
            </a:r>
            <a:r>
              <a:rPr lang="ru-RU" sz="1050" dirty="0" err="1"/>
              <a:t>эквайринга</a:t>
            </a:r>
            <a:r>
              <a:rPr lang="ru-RU" sz="1050" dirty="0"/>
              <a:t> от Сбербанка:</a:t>
            </a:r>
          </a:p>
          <a:p>
            <a:r>
              <a:rPr lang="ru-RU" sz="1050" dirty="0"/>
              <a:t>Выставление счета на </a:t>
            </a:r>
            <a:r>
              <a:rPr lang="en-US" sz="1050" dirty="0"/>
              <a:t>E</a:t>
            </a:r>
            <a:r>
              <a:rPr lang="ru-RU" sz="1050" dirty="0"/>
              <a:t> -</a:t>
            </a:r>
            <a:r>
              <a:rPr lang="en-US" sz="1050" dirty="0"/>
              <a:t>mail.</a:t>
            </a:r>
            <a:r>
              <a:rPr lang="ru-RU" sz="1050" dirty="0"/>
              <a:t> </a:t>
            </a:r>
          </a:p>
          <a:p>
            <a:r>
              <a:rPr lang="ru-RU" sz="1050" dirty="0"/>
              <a:t>Отправка ссылки для оплаты на защищенную платежную страницу)</a:t>
            </a:r>
          </a:p>
          <a:p>
            <a:r>
              <a:rPr lang="ru-RU" sz="1050" dirty="0"/>
              <a:t>Оплата по статической ссылке (платежная кнопка). </a:t>
            </a:r>
          </a:p>
          <a:p>
            <a:r>
              <a:rPr lang="ru-RU" sz="1050" dirty="0"/>
              <a:t>Возможно реализовать индивидуальный проект, например оплата в приложении.</a:t>
            </a:r>
          </a:p>
          <a:p>
            <a:r>
              <a:rPr lang="ru-RU" sz="1050" dirty="0"/>
              <a:t>Возможно подключить современные виды платежей </a:t>
            </a:r>
          </a:p>
          <a:p>
            <a:r>
              <a:rPr lang="en-US" sz="1050" dirty="0" err="1"/>
              <a:t>ApplePay</a:t>
            </a:r>
            <a:r>
              <a:rPr lang="en-US" sz="1050" dirty="0"/>
              <a:t>,</a:t>
            </a:r>
            <a:r>
              <a:rPr lang="ru-RU" sz="1050" dirty="0"/>
              <a:t>  </a:t>
            </a:r>
            <a:r>
              <a:rPr lang="en-US" sz="1050" dirty="0" err="1"/>
              <a:t>GooglePay</a:t>
            </a:r>
            <a:r>
              <a:rPr lang="ru-RU" sz="1050" dirty="0"/>
              <a:t> </a:t>
            </a:r>
            <a:r>
              <a:rPr lang="en-US" sz="1050" dirty="0"/>
              <a:t>,</a:t>
            </a:r>
            <a:r>
              <a:rPr lang="ru-RU" sz="1050" dirty="0"/>
              <a:t> </a:t>
            </a:r>
            <a:r>
              <a:rPr lang="en-US" sz="1050" dirty="0" err="1"/>
              <a:t>SamsungPay</a:t>
            </a:r>
            <a:endParaRPr lang="en-US" sz="1050" dirty="0"/>
          </a:p>
          <a:p>
            <a:endParaRPr lang="ru-RU" sz="1050" dirty="0"/>
          </a:p>
          <a:p>
            <a:r>
              <a:rPr lang="ru-RU" sz="1050" dirty="0"/>
              <a:t>Сроки подключения - 7 дней (максимальный срок).</a:t>
            </a:r>
          </a:p>
          <a:p>
            <a:endParaRPr lang="ru-RU" sz="1050" dirty="0"/>
          </a:p>
          <a:p>
            <a:endParaRPr lang="ru-RU" sz="1050" dirty="0"/>
          </a:p>
          <a:p>
            <a:r>
              <a:rPr lang="ru-RU" sz="1050" dirty="0"/>
              <a:t>*Тариф зависит от вида деятельности и оборота, информация размещена</a:t>
            </a:r>
          </a:p>
          <a:p>
            <a:r>
              <a:rPr lang="ru-RU" sz="1050" dirty="0"/>
              <a:t> на сайте </a:t>
            </a:r>
            <a:r>
              <a:rPr lang="ru-RU" sz="1050" dirty="0">
                <a:hlinkClick r:id="rId2"/>
              </a:rPr>
              <a:t>www.sberbank.ru</a:t>
            </a:r>
            <a:r>
              <a:rPr lang="ru-RU" sz="1050" dirty="0"/>
              <a:t>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14" r="10538"/>
          <a:stretch/>
        </p:blipFill>
        <p:spPr>
          <a:xfrm>
            <a:off x="395536" y="2016852"/>
            <a:ext cx="3068384" cy="271513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29349" y="532704"/>
            <a:ext cx="8079648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Интернет </a:t>
            </a:r>
            <a:r>
              <a:rPr lang="ru-RU" sz="1600" b="1" dirty="0" err="1"/>
              <a:t>Эквайринг</a:t>
            </a:r>
            <a:endParaRPr lang="ru-RU" sz="1600" b="1" dirty="0"/>
          </a:p>
          <a:p>
            <a:r>
              <a:rPr lang="ru-RU" sz="1600" dirty="0"/>
              <a:t>Услуга, позволяющая принимать безналичную оплату от покупателей через интернет при </a:t>
            </a:r>
          </a:p>
          <a:p>
            <a:r>
              <a:rPr lang="ru-RU" sz="1600" dirty="0"/>
              <a:t>осуществлении </a:t>
            </a:r>
            <a:r>
              <a:rPr lang="ru-RU" sz="1600" dirty="0" err="1"/>
              <a:t>online</a:t>
            </a:r>
            <a:r>
              <a:rPr lang="ru-RU" sz="1600" dirty="0"/>
              <a:t> покупок</a:t>
            </a:r>
          </a:p>
          <a:p>
            <a:r>
              <a:rPr lang="ru-RU" sz="1600" dirty="0"/>
              <a:t>Для интернет-магазинов и продаж через </a:t>
            </a:r>
            <a:r>
              <a:rPr lang="ru-RU" sz="1600" dirty="0" err="1"/>
              <a:t>соцсети</a:t>
            </a:r>
            <a:r>
              <a:rPr lang="ru-RU" sz="1600" dirty="0"/>
              <a:t> и мессенджеры</a:t>
            </a:r>
          </a:p>
          <a:p>
            <a:endParaRPr lang="ru-RU" sz="1600" dirty="0"/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1862525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Контактная информац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9349" y="771550"/>
            <a:ext cx="432907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Давудов Ризван Джаферович</a:t>
            </a:r>
          </a:p>
          <a:p>
            <a:r>
              <a:rPr lang="ru-RU" sz="1600" dirty="0"/>
              <a:t>Менеджер по продажам продуктов </a:t>
            </a:r>
            <a:r>
              <a:rPr lang="ru-RU" sz="1600" dirty="0" err="1"/>
              <a:t>эквайринга</a:t>
            </a:r>
            <a:endParaRPr lang="ru-RU" sz="1600" dirty="0"/>
          </a:p>
          <a:p>
            <a:r>
              <a:rPr lang="ru-RU" sz="1600" dirty="0"/>
              <a:t>Тел.: 8 (988)780-94-95</a:t>
            </a:r>
          </a:p>
          <a:p>
            <a:r>
              <a:rPr lang="en-US" sz="1600" dirty="0"/>
              <a:t>E-mail</a:t>
            </a:r>
            <a:r>
              <a:rPr lang="ru-RU" sz="1600" dirty="0"/>
              <a:t>: </a:t>
            </a:r>
            <a:r>
              <a:rPr lang="en-US" sz="1600" dirty="0"/>
              <a:t>Rddavudov@sberbank.ru</a:t>
            </a:r>
            <a:endParaRPr lang="ru-RU" sz="1600" dirty="0"/>
          </a:p>
          <a:p>
            <a:endParaRPr lang="ru-RU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242930" y="2184415"/>
            <a:ext cx="432907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Абасов Руслан Гасаналиевич</a:t>
            </a:r>
          </a:p>
          <a:p>
            <a:r>
              <a:rPr lang="ru-RU" sz="1600" dirty="0"/>
              <a:t>Менеджер по продажам продуктов </a:t>
            </a:r>
            <a:r>
              <a:rPr lang="ru-RU" sz="1600" dirty="0" err="1"/>
              <a:t>эквайринга</a:t>
            </a:r>
            <a:endParaRPr lang="ru-RU" sz="1600" dirty="0"/>
          </a:p>
          <a:p>
            <a:r>
              <a:rPr lang="ru-RU" sz="1600" dirty="0"/>
              <a:t>Тел.: 8 (988)780-92-39</a:t>
            </a:r>
          </a:p>
          <a:p>
            <a:r>
              <a:rPr lang="en-US" sz="1600" dirty="0"/>
              <a:t>E-mail</a:t>
            </a:r>
            <a:r>
              <a:rPr lang="ru-RU" sz="1600" dirty="0"/>
              <a:t>: </a:t>
            </a:r>
            <a:r>
              <a:rPr lang="en-US" sz="1600" dirty="0"/>
              <a:t>Rgabasov@sberbank.ru</a:t>
            </a:r>
            <a:endParaRPr lang="ru-RU" sz="1600" dirty="0"/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202340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9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0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1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2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3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Титулы_СБ">
  <a:themeElements>
    <a:clrScheme name="шаблон СБ 1">
      <a:dk1>
        <a:srgbClr val="000000"/>
      </a:dk1>
      <a:lt1>
        <a:srgbClr val="FFFFFF"/>
      </a:lt1>
      <a:dk2>
        <a:srgbClr val="006F3C"/>
      </a:dk2>
      <a:lt2>
        <a:srgbClr val="999999"/>
      </a:lt2>
      <a:accent1>
        <a:srgbClr val="11A74C"/>
      </a:accent1>
      <a:accent2>
        <a:srgbClr val="7DC244"/>
      </a:accent2>
      <a:accent3>
        <a:srgbClr val="DC0F00"/>
      </a:accent3>
      <a:accent4>
        <a:srgbClr val="139884"/>
      </a:accent4>
      <a:accent5>
        <a:srgbClr val="EB7F2E"/>
      </a:accent5>
      <a:accent6>
        <a:srgbClr val="0C8CBB"/>
      </a:accent6>
      <a:hlink>
        <a:srgbClr val="71C7C4"/>
      </a:hlink>
      <a:folHlink>
        <a:srgbClr val="F6AC25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2" id="{2D48DFDE-487C-433D-BC9D-1DC8E57AF3A9}" vid="{374967EC-EBD1-4D27-90B5-4E3E6BBB4674}"/>
    </a:ext>
  </a:extLst>
</a:theme>
</file>

<file path=ppt/theme/theme16.xml><?xml version="1.0" encoding="utf-8"?>
<a:theme xmlns:a="http://schemas.openxmlformats.org/drawingml/2006/main" name="14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5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6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7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9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20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21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22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25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27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32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34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8.xml><?xml version="1.0" encoding="utf-8"?>
<a:theme xmlns:a="http://schemas.openxmlformats.org/drawingml/2006/main" name="45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9.xml><?xml version="1.0" encoding="utf-8"?>
<a:theme xmlns:a="http://schemas.openxmlformats.org/drawingml/2006/main" name="61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68_Голубые тона">
  <a:themeElements>
    <a:clrScheme name="Другая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262626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73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76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3.xml><?xml version="1.0" encoding="utf-8"?>
<a:theme xmlns:a="http://schemas.openxmlformats.org/drawingml/2006/main" name="80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4.xml><?xml version="1.0" encoding="utf-8"?>
<a:theme xmlns:a="http://schemas.openxmlformats.org/drawingml/2006/main" name="4_Firm Format - Russian">
  <a:themeElements>
    <a:clrScheme name="Другая 8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0055C7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100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6.xml><?xml version="1.0" encoding="utf-8"?>
<a:theme xmlns:a="http://schemas.openxmlformats.org/drawingml/2006/main" name="102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7.xml><?xml version="1.0" encoding="utf-8"?>
<a:theme xmlns:a="http://schemas.openxmlformats.org/drawingml/2006/main" name="105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8.xml><?xml version="1.0" encoding="utf-8"?>
<a:theme xmlns:a="http://schemas.openxmlformats.org/drawingml/2006/main" name="137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9.xml><?xml version="1.0" encoding="utf-8"?>
<a:theme xmlns:a="http://schemas.openxmlformats.org/drawingml/2006/main" name="114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0.xml><?xml version="1.0" encoding="utf-8"?>
<a:theme xmlns:a="http://schemas.openxmlformats.org/drawingml/2006/main" name="138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18A389EADDA06489FFCAFC56EE9B16D" ma:contentTypeVersion="2" ma:contentTypeDescription="Создание документа." ma:contentTypeScope="" ma:versionID="c9099a97ccc3d77ba126b259af4dc68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12c916068211e4acbb61b7c7cc9ed0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1EE888-822D-43B0-B75B-BBE10D494A57}">
  <ds:schemaRefs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D5222E3-B032-437C-9F51-B8234D0BF6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7C580B-F166-469E-AB58-B5181D183C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6592</TotalTime>
  <Words>1004</Words>
  <Application>Microsoft Office PowerPoint</Application>
  <PresentationFormat>Экран (16:9)</PresentationFormat>
  <Paragraphs>136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40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55" baseType="lpstr">
      <vt:lpstr>Arial</vt:lpstr>
      <vt:lpstr>Calibri</vt:lpstr>
      <vt:lpstr>Calibri Light</vt:lpstr>
      <vt:lpstr>Century Gothic</vt:lpstr>
      <vt:lpstr>Fedra Sans Pro Book</vt:lpstr>
      <vt:lpstr>Голубые тона</vt:lpstr>
      <vt:lpstr>1_Голубые тона</vt:lpstr>
      <vt:lpstr>2_Голубые тона</vt:lpstr>
      <vt:lpstr>3_Голубые тона</vt:lpstr>
      <vt:lpstr>4_Голубые тона</vt:lpstr>
      <vt:lpstr>5_Голубые тона</vt:lpstr>
      <vt:lpstr>6_Голубые тона</vt:lpstr>
      <vt:lpstr>7_Голубые тона</vt:lpstr>
      <vt:lpstr>8_Голубые тона</vt:lpstr>
      <vt:lpstr>9_Голубые тона</vt:lpstr>
      <vt:lpstr>10_Голубые тона</vt:lpstr>
      <vt:lpstr>11_Голубые тона</vt:lpstr>
      <vt:lpstr>12_Голубые тона</vt:lpstr>
      <vt:lpstr>13_Голубые тона</vt:lpstr>
      <vt:lpstr>Титулы_СБ</vt:lpstr>
      <vt:lpstr>14_Голубые тона</vt:lpstr>
      <vt:lpstr>15_Голубые тона</vt:lpstr>
      <vt:lpstr>16_Голубые тона</vt:lpstr>
      <vt:lpstr>17_Голубые тона</vt:lpstr>
      <vt:lpstr>19_Голубые тона</vt:lpstr>
      <vt:lpstr>20_Голубые тона</vt:lpstr>
      <vt:lpstr>21_Голубые тона</vt:lpstr>
      <vt:lpstr>22_Голубые тона</vt:lpstr>
      <vt:lpstr>25_Голубые тона</vt:lpstr>
      <vt:lpstr>27_Голубые тона</vt:lpstr>
      <vt:lpstr>32_Голубые тона</vt:lpstr>
      <vt:lpstr>34_Голубые тона</vt:lpstr>
      <vt:lpstr>45_Голубые тона</vt:lpstr>
      <vt:lpstr>61_Голубые тона</vt:lpstr>
      <vt:lpstr>68_Голубые тона</vt:lpstr>
      <vt:lpstr>73_Голубые тона</vt:lpstr>
      <vt:lpstr>76_Голубые тона</vt:lpstr>
      <vt:lpstr>80_Голубые тона</vt:lpstr>
      <vt:lpstr>4_Firm Format - Russian</vt:lpstr>
      <vt:lpstr>100_Голубые тона</vt:lpstr>
      <vt:lpstr>102_Голубые тона</vt:lpstr>
      <vt:lpstr>105_Голубые тона</vt:lpstr>
      <vt:lpstr>137_Голубые тона</vt:lpstr>
      <vt:lpstr>114_Голубые тона</vt:lpstr>
      <vt:lpstr>138_Голубые тона</vt:lpstr>
      <vt:lpstr>think-cell Slide</vt:lpstr>
      <vt:lpstr>Слайд think-cell</vt:lpstr>
      <vt:lpstr>Презентация PowerPoint</vt:lpstr>
      <vt:lpstr>СмартPOS«2в1»</vt:lpstr>
      <vt:lpstr>СмартPOS«2в1»</vt:lpstr>
      <vt:lpstr>Эвотор</vt:lpstr>
      <vt:lpstr>Плати QR</vt:lpstr>
      <vt:lpstr>TapOnPhone</vt:lpstr>
      <vt:lpstr>Интернет Эквайринг</vt:lpstr>
      <vt:lpstr>Контактная информац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Царенков</dc:creator>
  <cp:lastModifiedBy>Kudaev_Sadulla</cp:lastModifiedBy>
  <cp:revision>5443</cp:revision>
  <cp:lastPrinted>2020-11-19T10:02:51Z</cp:lastPrinted>
  <dcterms:created xsi:type="dcterms:W3CDTF">2012-10-31T13:39:16Z</dcterms:created>
  <dcterms:modified xsi:type="dcterms:W3CDTF">2021-02-17T13:3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8A389EADDA06489FFCAFC56EE9B16D</vt:lpwstr>
  </property>
</Properties>
</file>